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55" r:id="rId1"/>
    <p:sldMasterId id="2147483658" r:id="rId2"/>
  </p:sldMasterIdLst>
  <p:notesMasterIdLst>
    <p:notesMasterId r:id="rId18"/>
  </p:notesMasterIdLst>
  <p:handoutMasterIdLst>
    <p:handoutMasterId r:id="rId19"/>
  </p:handoutMasterIdLst>
  <p:sldIdLst>
    <p:sldId id="365" r:id="rId3"/>
    <p:sldId id="257" r:id="rId4"/>
    <p:sldId id="261" r:id="rId5"/>
    <p:sldId id="262" r:id="rId6"/>
    <p:sldId id="263" r:id="rId7"/>
    <p:sldId id="264" r:id="rId8"/>
    <p:sldId id="265" r:id="rId9"/>
    <p:sldId id="368" r:id="rId10"/>
    <p:sldId id="285" r:id="rId11"/>
    <p:sldId id="286" r:id="rId12"/>
    <p:sldId id="287" r:id="rId13"/>
    <p:sldId id="288" r:id="rId14"/>
    <p:sldId id="378" r:id="rId15"/>
    <p:sldId id="379" r:id="rId16"/>
    <p:sldId id="377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365"/>
            <p14:sldId id="257"/>
          </p14:sldIdLst>
        </p14:section>
        <p14:section name="Section 1" id="{2A7242DC-929E-4579-8F10-2B02EF80F144}">
          <p14:sldIdLst>
            <p14:sldId id="261"/>
            <p14:sldId id="262"/>
          </p14:sldIdLst>
        </p14:section>
        <p14:section name="Section 2" id="{C08B1841-5FDC-4A02-8341-6113A820D328}">
          <p14:sldIdLst>
            <p14:sldId id="263"/>
            <p14:sldId id="264"/>
            <p14:sldId id="265"/>
            <p14:sldId id="368"/>
          </p14:sldIdLst>
        </p14:section>
        <p14:section name="Section 3" id="{166B4E13-456F-4DE7-8043-47B198AC9D32}">
          <p14:sldIdLst>
            <p14:sldId id="285"/>
            <p14:sldId id="286"/>
            <p14:sldId id="287"/>
            <p14:sldId id="288"/>
          </p14:sldIdLst>
        </p14:section>
        <p14:section name="Section 4" id="{BD0AB789-343F-4F3E-AB6C-9DEB37B93BF8}">
          <p14:sldIdLst>
            <p14:sldId id="378"/>
            <p14:sldId id="379"/>
            <p14:sldId id="37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AF1F"/>
    <a:srgbClr val="495165"/>
    <a:srgbClr val="822044"/>
    <a:srgbClr val="F08310"/>
    <a:srgbClr val="1D2128"/>
    <a:srgbClr val="0A5F74"/>
    <a:srgbClr val="00235B"/>
    <a:srgbClr val="1A1D24"/>
    <a:srgbClr val="EBBADB"/>
    <a:srgbClr val="C57C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638" autoAdjust="0"/>
    <p:restoredTop sz="94660"/>
  </p:normalViewPr>
  <p:slideViewPr>
    <p:cSldViewPr snapToGrid="0" showGuides="1">
      <p:cViewPr>
        <p:scale>
          <a:sx n="66" d="100"/>
          <a:sy n="66" d="100"/>
        </p:scale>
        <p:origin x="1116" y="-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qaulan sakila" userId="b18b7923db98f7e1" providerId="LiveId" clId="{FA076623-D52D-4E06-81D7-7A6044D12FB1}"/>
    <pc:docChg chg="undo redo custSel addSld delSld modSld sldOrd addSection delSection modSection">
      <pc:chgData name="qaulan sakila" userId="b18b7923db98f7e1" providerId="LiveId" clId="{FA076623-D52D-4E06-81D7-7A6044D12FB1}" dt="2024-03-02T23:50:37.441" v="2078" actId="20577"/>
      <pc:docMkLst>
        <pc:docMk/>
      </pc:docMkLst>
      <pc:sldChg chg="modSp add del mod ord setBg">
        <pc:chgData name="qaulan sakila" userId="b18b7923db98f7e1" providerId="LiveId" clId="{FA076623-D52D-4E06-81D7-7A6044D12FB1}" dt="2024-03-02T23:42:25.609" v="1935" actId="47"/>
        <pc:sldMkLst>
          <pc:docMk/>
          <pc:sldMk cId="3888736619" sldId="256"/>
        </pc:sldMkLst>
        <pc:spChg chg="mod">
          <ac:chgData name="qaulan sakila" userId="b18b7923db98f7e1" providerId="LiveId" clId="{FA076623-D52D-4E06-81D7-7A6044D12FB1}" dt="2024-03-02T10:52:46.328" v="38" actId="113"/>
          <ac:spMkLst>
            <pc:docMk/>
            <pc:sldMk cId="3888736619" sldId="256"/>
            <ac:spMk id="89" creationId="{6AADF3F2-5F0C-0EAA-E131-65B1FB955DF1}"/>
          </ac:spMkLst>
        </pc:spChg>
      </pc:sldChg>
      <pc:sldChg chg="addSp delSp modSp mod modTransition setBg">
        <pc:chgData name="qaulan sakila" userId="b18b7923db98f7e1" providerId="LiveId" clId="{FA076623-D52D-4E06-81D7-7A6044D12FB1}" dt="2024-03-02T23:50:37.441" v="2078" actId="20577"/>
        <pc:sldMkLst>
          <pc:docMk/>
          <pc:sldMk cId="928790664" sldId="257"/>
        </pc:sldMkLst>
        <pc:spChg chg="mod">
          <ac:chgData name="qaulan sakila" userId="b18b7923db98f7e1" providerId="LiveId" clId="{FA076623-D52D-4E06-81D7-7A6044D12FB1}" dt="2024-03-02T11:52:05.660" v="255" actId="20577"/>
          <ac:spMkLst>
            <pc:docMk/>
            <pc:sldMk cId="928790664" sldId="257"/>
            <ac:spMk id="2" creationId="{E6836BFA-5538-4513-9B75-F06B323E2F63}"/>
          </ac:spMkLst>
        </pc:spChg>
        <pc:spChg chg="add del mod">
          <ac:chgData name="qaulan sakila" userId="b18b7923db98f7e1" providerId="LiveId" clId="{FA076623-D52D-4E06-81D7-7A6044D12FB1}" dt="2024-03-02T23:50:37.441" v="2078" actId="20577"/>
          <ac:spMkLst>
            <pc:docMk/>
            <pc:sldMk cId="928790664" sldId="257"/>
            <ac:spMk id="11" creationId="{F5BAC720-A5BE-27C5-1570-882A36B7684F}"/>
          </ac:spMkLst>
        </pc:spChg>
        <pc:spChg chg="mod">
          <ac:chgData name="qaulan sakila" userId="b18b7923db98f7e1" providerId="LiveId" clId="{FA076623-D52D-4E06-81D7-7A6044D12FB1}" dt="2024-03-02T11:52:44.469" v="329" actId="20577"/>
          <ac:spMkLst>
            <pc:docMk/>
            <pc:sldMk cId="928790664" sldId="257"/>
            <ac:spMk id="24" creationId="{A180BC78-EA0F-4D0B-85C2-CDA92F978662}"/>
          </ac:spMkLst>
        </pc:spChg>
        <pc:graphicFrameChg chg="add del mod modGraphic">
          <ac:chgData name="qaulan sakila" userId="b18b7923db98f7e1" providerId="LiveId" clId="{FA076623-D52D-4E06-81D7-7A6044D12FB1}" dt="2024-03-02T22:28:51.383" v="847" actId="478"/>
          <ac:graphicFrameMkLst>
            <pc:docMk/>
            <pc:sldMk cId="928790664" sldId="257"/>
            <ac:graphicFrameMk id="3" creationId="{682F1EE3-9CE8-847F-9EF5-5D58F8C8915F}"/>
          </ac:graphicFrameMkLst>
        </pc:graphicFrameChg>
        <pc:graphicFrameChg chg="add del">
          <ac:chgData name="qaulan sakila" userId="b18b7923db98f7e1" providerId="LiveId" clId="{FA076623-D52D-4E06-81D7-7A6044D12FB1}" dt="2024-03-02T12:10:32.718" v="389" actId="478"/>
          <ac:graphicFrameMkLst>
            <pc:docMk/>
            <pc:sldMk cId="928790664" sldId="257"/>
            <ac:graphicFrameMk id="6" creationId="{B1081732-B29C-427A-BB26-E7D808C36F7E}"/>
          </ac:graphicFrameMkLst>
        </pc:graphicFrameChg>
        <pc:graphicFrameChg chg="add del modGraphic">
          <ac:chgData name="qaulan sakila" userId="b18b7923db98f7e1" providerId="LiveId" clId="{FA076623-D52D-4E06-81D7-7A6044D12FB1}" dt="2024-03-02T10:48:26.511" v="9" actId="478"/>
          <ac:graphicFrameMkLst>
            <pc:docMk/>
            <pc:sldMk cId="928790664" sldId="257"/>
            <ac:graphicFrameMk id="7" creationId="{012B7527-0CE7-A9E1-9C9C-B6170EF956A4}"/>
          </ac:graphicFrameMkLst>
        </pc:graphicFrameChg>
        <pc:graphicFrameChg chg="del">
          <ac:chgData name="qaulan sakila" userId="b18b7923db98f7e1" providerId="LiveId" clId="{FA076623-D52D-4E06-81D7-7A6044D12FB1}" dt="2024-03-02T22:28:33.254" v="844" actId="478"/>
          <ac:graphicFrameMkLst>
            <pc:docMk/>
            <pc:sldMk cId="928790664" sldId="257"/>
            <ac:graphicFrameMk id="8" creationId="{ADB52E6A-0FB6-42B7-A9B6-85F8DC9CB227}"/>
          </ac:graphicFrameMkLst>
        </pc:graphicFrameChg>
        <pc:graphicFrameChg chg="add mod">
          <ac:chgData name="qaulan sakila" userId="b18b7923db98f7e1" providerId="LiveId" clId="{FA076623-D52D-4E06-81D7-7A6044D12FB1}" dt="2024-03-02T22:17:32.535" v="674"/>
          <ac:graphicFrameMkLst>
            <pc:docMk/>
            <pc:sldMk cId="928790664" sldId="257"/>
            <ac:graphicFrameMk id="9" creationId="{DF60BBCF-F375-23EE-6737-8B68C837937B}"/>
          </ac:graphicFrameMkLst>
        </pc:graphicFrameChg>
        <pc:graphicFrameChg chg="del mod">
          <ac:chgData name="qaulan sakila" userId="b18b7923db98f7e1" providerId="LiveId" clId="{FA076623-D52D-4E06-81D7-7A6044D12FB1}" dt="2024-03-02T12:44:24.275" v="570" actId="478"/>
          <ac:graphicFrameMkLst>
            <pc:docMk/>
            <pc:sldMk cId="928790664" sldId="257"/>
            <ac:graphicFrameMk id="10" creationId="{134683BA-80C1-4EEF-871C-B39884977080}"/>
          </ac:graphicFrameMkLst>
        </pc:graphicFrameChg>
        <pc:graphicFrameChg chg="add del mod modGraphic">
          <ac:chgData name="qaulan sakila" userId="b18b7923db98f7e1" providerId="LiveId" clId="{FA076623-D52D-4E06-81D7-7A6044D12FB1}" dt="2024-03-02T12:07:13.784" v="370" actId="478"/>
          <ac:graphicFrameMkLst>
            <pc:docMk/>
            <pc:sldMk cId="928790664" sldId="257"/>
            <ac:graphicFrameMk id="11" creationId="{76CA687C-5B70-F087-A42B-48A99D9BF0C5}"/>
          </ac:graphicFrameMkLst>
        </pc:graphicFrameChg>
        <pc:graphicFrameChg chg="add del">
          <ac:chgData name="qaulan sakila" userId="b18b7923db98f7e1" providerId="LiveId" clId="{FA076623-D52D-4E06-81D7-7A6044D12FB1}" dt="2024-03-02T22:24:57.464" v="841" actId="478"/>
          <ac:graphicFrameMkLst>
            <pc:docMk/>
            <pc:sldMk cId="928790664" sldId="257"/>
            <ac:graphicFrameMk id="12" creationId="{8E3B159B-5B2D-4A09-8652-325E096A44A4}"/>
          </ac:graphicFrameMkLst>
        </pc:graphicFrameChg>
        <pc:graphicFrameChg chg="add mod modGraphic">
          <ac:chgData name="qaulan sakila" userId="b18b7923db98f7e1" providerId="LiveId" clId="{FA076623-D52D-4E06-81D7-7A6044D12FB1}" dt="2024-03-02T22:28:36.750" v="845" actId="1076"/>
          <ac:graphicFrameMkLst>
            <pc:docMk/>
            <pc:sldMk cId="928790664" sldId="257"/>
            <ac:graphicFrameMk id="14" creationId="{A7BE38A7-4356-4C22-0675-417DA03810A9}"/>
          </ac:graphicFrameMkLst>
        </pc:graphicFrameChg>
        <pc:graphicFrameChg chg="add del mod modGraphic">
          <ac:chgData name="qaulan sakila" userId="b18b7923db98f7e1" providerId="LiveId" clId="{FA076623-D52D-4E06-81D7-7A6044D12FB1}" dt="2024-03-02T12:07:16.050" v="371" actId="478"/>
          <ac:graphicFrameMkLst>
            <pc:docMk/>
            <pc:sldMk cId="928790664" sldId="257"/>
            <ac:graphicFrameMk id="15" creationId="{2299C2E9-CAC0-A6EC-DAAB-F18716AE79EF}"/>
          </ac:graphicFrameMkLst>
        </pc:graphicFrameChg>
        <pc:graphicFrameChg chg="add mod modGraphic">
          <ac:chgData name="qaulan sakila" userId="b18b7923db98f7e1" providerId="LiveId" clId="{FA076623-D52D-4E06-81D7-7A6044D12FB1}" dt="2024-03-02T23:50:23.051" v="2077" actId="20577"/>
          <ac:graphicFrameMkLst>
            <pc:docMk/>
            <pc:sldMk cId="928790664" sldId="257"/>
            <ac:graphicFrameMk id="15" creationId="{81D74F83-1B1D-713C-2DC7-9478C9357D4E}"/>
          </ac:graphicFrameMkLst>
        </pc:graphicFrameChg>
        <pc:graphicFrameChg chg="modGraphic">
          <ac:chgData name="qaulan sakila" userId="b18b7923db98f7e1" providerId="LiveId" clId="{FA076623-D52D-4E06-81D7-7A6044D12FB1}" dt="2024-03-02T10:46:56.616" v="6" actId="27116"/>
          <ac:graphicFrameMkLst>
            <pc:docMk/>
            <pc:sldMk cId="928790664" sldId="257"/>
            <ac:graphicFrameMk id="16" creationId="{AEE89D57-D776-411D-8896-742240C050B5}"/>
          </ac:graphicFrameMkLst>
        </pc:graphicFrameChg>
        <pc:graphicFrameChg chg="add mod">
          <ac:chgData name="qaulan sakila" userId="b18b7923db98f7e1" providerId="LiveId" clId="{FA076623-D52D-4E06-81D7-7A6044D12FB1}" dt="2024-03-02T12:10:31.901" v="388" actId="1076"/>
          <ac:graphicFrameMkLst>
            <pc:docMk/>
            <pc:sldMk cId="928790664" sldId="257"/>
            <ac:graphicFrameMk id="17" creationId="{6BB211E7-A9FC-BB17-4DFA-1D4A89369A4B}"/>
          </ac:graphicFrameMkLst>
        </pc:graphicFrameChg>
        <pc:graphicFrameChg chg="add mod">
          <ac:chgData name="qaulan sakila" userId="b18b7923db98f7e1" providerId="LiveId" clId="{FA076623-D52D-4E06-81D7-7A6044D12FB1}" dt="2024-03-02T23:44:35.415" v="1940"/>
          <ac:graphicFrameMkLst>
            <pc:docMk/>
            <pc:sldMk cId="928790664" sldId="257"/>
            <ac:graphicFrameMk id="17" creationId="{FEBEC6BB-72A2-47CF-664E-58AEFCC8524D}"/>
          </ac:graphicFrameMkLst>
        </pc:graphicFrameChg>
        <pc:graphicFrameChg chg="del">
          <ac:chgData name="qaulan sakila" userId="b18b7923db98f7e1" providerId="LiveId" clId="{FA076623-D52D-4E06-81D7-7A6044D12FB1}" dt="2024-03-02T11:04:14.894" v="139" actId="478"/>
          <ac:graphicFrameMkLst>
            <pc:docMk/>
            <pc:sldMk cId="928790664" sldId="257"/>
            <ac:graphicFrameMk id="30" creationId="{6C0617A1-19DC-4C19-AC5A-35D3CABF164F}"/>
          </ac:graphicFrameMkLst>
        </pc:graphicFrameChg>
        <pc:graphicFrameChg chg="add mod modGraphic">
          <ac:chgData name="qaulan sakila" userId="b18b7923db98f7e1" providerId="LiveId" clId="{FA076623-D52D-4E06-81D7-7A6044D12FB1}" dt="2024-03-02T12:11:09.231" v="395"/>
          <ac:graphicFrameMkLst>
            <pc:docMk/>
            <pc:sldMk cId="928790664" sldId="257"/>
            <ac:graphicFrameMk id="31" creationId="{F93AEB8B-323E-2747-878C-ECBFBA966068}"/>
          </ac:graphicFrameMkLst>
        </pc:graphicFrameChg>
        <pc:graphicFrameChg chg="mod">
          <ac:chgData name="qaulan sakila" userId="b18b7923db98f7e1" providerId="LiveId" clId="{FA076623-D52D-4E06-81D7-7A6044D12FB1}" dt="2024-03-02T12:44:32.761" v="571" actId="1076"/>
          <ac:graphicFrameMkLst>
            <pc:docMk/>
            <pc:sldMk cId="928790664" sldId="257"/>
            <ac:graphicFrameMk id="34" creationId="{B190034F-4970-4717-9F30-57807508A279}"/>
          </ac:graphicFrameMkLst>
        </pc:graphicFrameChg>
        <pc:graphicFrameChg chg="add mod modGraphic">
          <ac:chgData name="qaulan sakila" userId="b18b7923db98f7e1" providerId="LiveId" clId="{FA076623-D52D-4E06-81D7-7A6044D12FB1}" dt="2024-03-02T12:28:15.312" v="502" actId="1037"/>
          <ac:graphicFrameMkLst>
            <pc:docMk/>
            <pc:sldMk cId="928790664" sldId="257"/>
            <ac:graphicFrameMk id="35" creationId="{C4550873-E114-54BB-698F-6E7A49DE3BE8}"/>
          </ac:graphicFrameMkLst>
        </pc:graphicFrameChg>
      </pc:sldChg>
      <pc:sldChg chg="modSp add mod ord setBg">
        <pc:chgData name="qaulan sakila" userId="b18b7923db98f7e1" providerId="LiveId" clId="{FA076623-D52D-4E06-81D7-7A6044D12FB1}" dt="2024-03-02T22:47:38.266" v="1052" actId="1037"/>
        <pc:sldMkLst>
          <pc:docMk/>
          <pc:sldMk cId="1105292303" sldId="258"/>
        </pc:sldMkLst>
        <pc:spChg chg="mod">
          <ac:chgData name="qaulan sakila" userId="b18b7923db98f7e1" providerId="LiveId" clId="{FA076623-D52D-4E06-81D7-7A6044D12FB1}" dt="2024-03-02T22:47:38.266" v="1052" actId="1037"/>
          <ac:spMkLst>
            <pc:docMk/>
            <pc:sldMk cId="1105292303" sldId="258"/>
            <ac:spMk id="2" creationId="{AA4D2D49-6C59-2AC9-3602-37E2A28F4DB3}"/>
          </ac:spMkLst>
        </pc:spChg>
        <pc:spChg chg="mod">
          <ac:chgData name="qaulan sakila" userId="b18b7923db98f7e1" providerId="LiveId" clId="{FA076623-D52D-4E06-81D7-7A6044D12FB1}" dt="2024-03-02T22:47:38.266" v="1052" actId="1037"/>
          <ac:spMkLst>
            <pc:docMk/>
            <pc:sldMk cId="1105292303" sldId="258"/>
            <ac:spMk id="4" creationId="{DAC6B1CB-907B-01BE-ACCD-F4ACC5B6A603}"/>
          </ac:spMkLst>
        </pc:spChg>
        <pc:spChg chg="mod">
          <ac:chgData name="qaulan sakila" userId="b18b7923db98f7e1" providerId="LiveId" clId="{FA076623-D52D-4E06-81D7-7A6044D12FB1}" dt="2024-03-02T10:57:55.922" v="101" actId="208"/>
          <ac:spMkLst>
            <pc:docMk/>
            <pc:sldMk cId="1105292303" sldId="258"/>
            <ac:spMk id="7" creationId="{4E59F930-2EBE-6CC4-6520-A67DB964F6B2}"/>
          </ac:spMkLst>
        </pc:spChg>
        <pc:spChg chg="mod">
          <ac:chgData name="qaulan sakila" userId="b18b7923db98f7e1" providerId="LiveId" clId="{FA076623-D52D-4E06-81D7-7A6044D12FB1}" dt="2024-03-02T10:57:55.922" v="101" actId="208"/>
          <ac:spMkLst>
            <pc:docMk/>
            <pc:sldMk cId="1105292303" sldId="258"/>
            <ac:spMk id="9" creationId="{6174015C-1ABE-E875-0520-6026F9CC53A4}"/>
          </ac:spMkLst>
        </pc:spChg>
        <pc:spChg chg="mod">
          <ac:chgData name="qaulan sakila" userId="b18b7923db98f7e1" providerId="LiveId" clId="{FA076623-D52D-4E06-81D7-7A6044D12FB1}" dt="2024-03-02T10:57:55.922" v="101" actId="208"/>
          <ac:spMkLst>
            <pc:docMk/>
            <pc:sldMk cId="1105292303" sldId="258"/>
            <ac:spMk id="10" creationId="{94AC21BC-A33D-CFB5-C2AE-5037807E8440}"/>
          </ac:spMkLst>
        </pc:spChg>
        <pc:spChg chg="mod">
          <ac:chgData name="qaulan sakila" userId="b18b7923db98f7e1" providerId="LiveId" clId="{FA076623-D52D-4E06-81D7-7A6044D12FB1}" dt="2024-03-02T10:57:55.922" v="101" actId="208"/>
          <ac:spMkLst>
            <pc:docMk/>
            <pc:sldMk cId="1105292303" sldId="258"/>
            <ac:spMk id="11" creationId="{EB1E58B9-DF72-A178-9F4C-DD13F8BE1778}"/>
          </ac:spMkLst>
        </pc:spChg>
        <pc:spChg chg="mod">
          <ac:chgData name="qaulan sakila" userId="b18b7923db98f7e1" providerId="LiveId" clId="{FA076623-D52D-4E06-81D7-7A6044D12FB1}" dt="2024-03-02T10:57:55.922" v="101" actId="208"/>
          <ac:spMkLst>
            <pc:docMk/>
            <pc:sldMk cId="1105292303" sldId="258"/>
            <ac:spMk id="12" creationId="{E2D20F57-A7D3-5AD0-99F0-8C0048804A6D}"/>
          </ac:spMkLst>
        </pc:spChg>
        <pc:spChg chg="mod">
          <ac:chgData name="qaulan sakila" userId="b18b7923db98f7e1" providerId="LiveId" clId="{FA076623-D52D-4E06-81D7-7A6044D12FB1}" dt="2024-03-02T10:57:55.922" v="101" actId="208"/>
          <ac:spMkLst>
            <pc:docMk/>
            <pc:sldMk cId="1105292303" sldId="258"/>
            <ac:spMk id="13" creationId="{E227EAE7-3925-C9C9-4E0F-15DF6AF3AAC8}"/>
          </ac:spMkLst>
        </pc:spChg>
        <pc:spChg chg="mod">
          <ac:chgData name="qaulan sakila" userId="b18b7923db98f7e1" providerId="LiveId" clId="{FA076623-D52D-4E06-81D7-7A6044D12FB1}" dt="2024-03-02T10:57:55.922" v="101" actId="208"/>
          <ac:spMkLst>
            <pc:docMk/>
            <pc:sldMk cId="1105292303" sldId="258"/>
            <ac:spMk id="14" creationId="{FF847DC1-56DB-B3A7-ED81-8903B833B9DE}"/>
          </ac:spMkLst>
        </pc:spChg>
        <pc:spChg chg="mod">
          <ac:chgData name="qaulan sakila" userId="b18b7923db98f7e1" providerId="LiveId" clId="{FA076623-D52D-4E06-81D7-7A6044D12FB1}" dt="2024-03-02T10:57:55.922" v="101" actId="208"/>
          <ac:spMkLst>
            <pc:docMk/>
            <pc:sldMk cId="1105292303" sldId="258"/>
            <ac:spMk id="15" creationId="{FBFC6825-4FCA-9574-9D69-6D364B207E9C}"/>
          </ac:spMkLst>
        </pc:spChg>
        <pc:spChg chg="mod">
          <ac:chgData name="qaulan sakila" userId="b18b7923db98f7e1" providerId="LiveId" clId="{FA076623-D52D-4E06-81D7-7A6044D12FB1}" dt="2024-03-02T10:57:55.922" v="101" actId="208"/>
          <ac:spMkLst>
            <pc:docMk/>
            <pc:sldMk cId="1105292303" sldId="258"/>
            <ac:spMk id="16" creationId="{0B2F3FF8-3D2A-4E18-EC06-A87E437D02F5}"/>
          </ac:spMkLst>
        </pc:spChg>
        <pc:spChg chg="mod">
          <ac:chgData name="qaulan sakila" userId="b18b7923db98f7e1" providerId="LiveId" clId="{FA076623-D52D-4E06-81D7-7A6044D12FB1}" dt="2024-03-02T10:57:55.922" v="101" actId="208"/>
          <ac:spMkLst>
            <pc:docMk/>
            <pc:sldMk cId="1105292303" sldId="258"/>
            <ac:spMk id="17" creationId="{165D323F-4F15-7ABC-3799-1707DA31F43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2" creationId="{E033E0D7-82F7-5B2D-85DD-542E814DCC9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3" creationId="{452A2BF7-6B19-27CF-ADC8-72CE073EDD0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4" creationId="{A3541045-24DE-EBF8-6EDF-47C14E12FAF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5" creationId="{FE937B09-1887-D534-9D5C-8BB770F7C79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6" creationId="{23A4D84C-5172-52F2-28F4-631091C74EF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7" creationId="{1DAB78FE-4B42-DCE4-7E3F-7C96F9B4BE8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8" creationId="{2B96AD29-E877-F5C2-7A57-3107ABBB298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68" creationId="{2F27B03C-9688-1C82-E86B-4C0E3010230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69" creationId="{E565A60E-A430-DEAF-9CF4-71E309E313D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70" creationId="{392F025F-20C2-C944-EDAE-041C33CC212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72" creationId="{95BAA179-12C7-5533-FC5A-61D87114D44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73" creationId="{72A0527D-22A8-7FA7-F100-3047FBBDF67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75" creationId="{74A39125-344B-E701-EABB-1AA62F911E3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77" creationId="{E541F7DD-477B-64E1-5C94-0E77E101F0E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79" creationId="{84A5B7AF-738D-D2BE-BB0F-5D8C46AB0BF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81" creationId="{970CB9C6-3042-3C91-D4D9-0968F3FE537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83" creationId="{F3B054C5-1365-A536-958D-54AECE68082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85" creationId="{8968B6A9-F358-71F3-0968-38CD8072AEF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86" creationId="{4217B460-7B8E-D523-0020-ABD41DC2415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87" creationId="{2C89C507-BD0D-BC09-AE49-11759DE657F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88" creationId="{AAC24F9E-AB93-8AAF-E928-1B3CC7AC78AD}"/>
          </ac:spMkLst>
        </pc:spChg>
        <pc:spChg chg="mod">
          <ac:chgData name="qaulan sakila" userId="b18b7923db98f7e1" providerId="LiveId" clId="{FA076623-D52D-4E06-81D7-7A6044D12FB1}" dt="2024-03-02T10:58:33.472" v="105" actId="207"/>
          <ac:spMkLst>
            <pc:docMk/>
            <pc:sldMk cId="1105292303" sldId="258"/>
            <ac:spMk id="89" creationId="{ECA12720-6147-89FA-1DB6-6D3A59BCA15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90" creationId="{7D7E8705-3885-A819-A604-10820970539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91" creationId="{028EDBB0-7A19-13E6-F9BC-AAABBFF3ADD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92" creationId="{8C1B767A-4DF1-796C-A4F8-DAE09146B61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93" creationId="{AFDEEC5E-5A1B-87BA-4B00-023561D9860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94" creationId="{39390971-ED80-9340-6911-608B1AF8F0B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95" creationId="{01207A9C-3124-012F-D2AD-B85EC93736A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96" creationId="{76713CC7-8606-8CF1-BFF4-F7EEB39A331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97" creationId="{4488C19B-97E4-2665-625C-B4DC893CF71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98" creationId="{941DE970-762F-CF3A-F7F7-457B4779E4B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99" creationId="{C22EE6F3-E358-F0AB-24D3-9475CFAC3DC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00" creationId="{146604E2-6682-4BC5-B075-AF4B3232952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01" creationId="{7C6C6D51-35A8-81FB-5D39-CB80D9E10D6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02" creationId="{104AE95A-3EAC-C9D6-C4C3-79ECC9BA0A3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03" creationId="{30384BFF-8560-FA8E-C466-0C1C734DE85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04" creationId="{D436B07C-27D4-3D3A-00DB-1CBBABE5B65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05" creationId="{5C872A38-F0B8-955E-C797-A9AC73F48C0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06" creationId="{EBC8CF21-9BE6-710C-AF14-4A149CC507E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07" creationId="{FA553A07-BB2A-6C6F-FF34-53ACA5D5C65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08" creationId="{CAC5E55F-9C44-0739-A0B7-19C2EBD4EF2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09" creationId="{00157A34-AB0D-FD4B-D5F3-59F7AF5D68A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10" creationId="{DAFE88E5-912D-CA99-8989-BA55CF57932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11" creationId="{8C53D210-6BE9-3AC6-2C55-B6E27CA4269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12" creationId="{E692F884-BC9C-8E8E-E721-984F9FD47B8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13" creationId="{99B988A6-FF25-C7F1-C13C-0CC29E2E843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14" creationId="{FC44AE39-96B0-D8EA-DDDB-153CDD4075E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15" creationId="{8A991049-8F00-B2E6-D227-901E95E540F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16" creationId="{8A662476-6C19-D092-7986-1636F0D3439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17" creationId="{DAF7E4FE-D03D-B7E5-2A35-50C20C01E83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18" creationId="{5ABDBC5E-84BF-DA4B-0419-AB891D21169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19" creationId="{255C18D2-9895-CE1E-BF31-07BF49F91E2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20" creationId="{62F8322D-8E70-416F-2182-1FBFEF8A497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21" creationId="{AF83887B-F567-D06E-CE5F-CD9BB1A9080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22" creationId="{3F97CA17-E411-420B-516E-E514CB802E9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23" creationId="{F9BD0F49-DDD2-3DC4-D83F-0285897811F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24" creationId="{AE6F4653-1DC3-F632-D3E2-477251A8195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25" creationId="{845C1820-CBE6-647B-2A74-22FC9B5EBD0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26" creationId="{AC0D4228-9FC5-05B6-979C-03715B97815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27" creationId="{211638B9-D44A-2D36-3151-E40D10EA100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28" creationId="{91931551-F0E7-AB47-93DC-12B852E0676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29" creationId="{0166FEBD-1E73-4276-C4AA-A80288C1AAC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30" creationId="{799518DA-C9E5-2B52-C49B-8688B72A7CE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31" creationId="{471F8DA7-B22B-1BAB-1ECB-D56F2AA7B3D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32" creationId="{DCFFC6A3-5B4C-ED41-FD8D-038E86C7A56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33" creationId="{233114C3-8440-288E-67E0-01A92F82225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34" creationId="{A04515EA-1CAF-F8A5-9894-361D2E28834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35" creationId="{7096D0DD-2DAD-8D16-6C24-6870D8D4899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36" creationId="{21B6444F-8057-CC69-3D04-6FBC70D9EFF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37" creationId="{5BA0FFF5-B33D-7669-0708-7BDF3AC1C6F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38" creationId="{E3A35B8B-04DD-240D-64FC-124AC5CD3CE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39" creationId="{45AC2703-CEE0-43E8-07CD-B48D6A75980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40" creationId="{C00AFACA-AC65-1230-DC6A-327D9BE2F0B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41" creationId="{3CB7A0DC-17D6-B8FF-F232-CB1FC8D3421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42" creationId="{A2B6EDEC-3991-9C89-7DF8-3D5D0E9C770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43" creationId="{90F87572-7498-9FC6-BB10-504D912AE72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44" creationId="{F00D8335-C190-AA18-7F3A-F41A85FC2BD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45" creationId="{FD0E65A9-55A1-524F-B193-AFA764DB609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46" creationId="{AC1E404C-1A72-D003-66B1-B76B0EC7801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47" creationId="{ED342E59-FBDA-CCC4-2F79-47143CDDF12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48" creationId="{F5C37D3C-CD6E-CB8C-1B78-04680028D08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49" creationId="{F8854A8C-1C6C-955C-4DAE-10D1AA585DD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50" creationId="{0717D822-E4CE-EEFD-3C2F-8525828EA65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51" creationId="{E88BA801-8169-CB13-4699-731B2627D61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52" creationId="{10B238B5-FA0D-C84D-9362-827A5EA638D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53" creationId="{6CEB9CFC-4F66-392C-A2FC-0F24FCC7644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54" creationId="{57C09A91-A61F-A3B7-3E8C-E466AD814EB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55" creationId="{C6DD4DDC-5488-775E-B423-FE13766E3EB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56" creationId="{C6848F7D-2F33-8ACF-75ED-36B391C3308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57" creationId="{DF30937A-9B8B-4ECD-902E-5C6C4FAD1CC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58" creationId="{5812FDE5-1735-B1BB-8D6B-C07E87414F7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59" creationId="{8D497820-7E57-2717-8DCD-76E9FC9A38A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60" creationId="{A2AF5E94-AE9E-E500-D02E-8576C6A8DA1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61" creationId="{D4087914-5D13-C9C8-B518-44426C6EC5C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62" creationId="{26968558-8692-2ADE-0932-18C0C734EBD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63" creationId="{6D53868D-ECFD-5015-588F-C65E73A8C62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64" creationId="{F5A30D48-1A0A-F153-C6A7-DC72240B62E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65" creationId="{508FA912-3E65-A97C-C879-397E6EEBC26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66" creationId="{04F1F093-BF38-057A-78EB-52606CF76CA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67" creationId="{0F1E8DC5-C7F0-52A3-2C24-0EE1B9294F0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68" creationId="{80B01C54-21E4-02D5-BF0C-49BB7095568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69" creationId="{7513904B-0724-21DD-565A-79001E2979B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70" creationId="{6BA06E90-17F5-15E8-9C5E-DB0D88D1160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71" creationId="{4C0DE4D5-46FD-1F38-0E66-31E149D9C35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72" creationId="{856279DC-B05A-4686-CF11-3C1B839607D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73" creationId="{7D1C0E44-E0CA-2497-512E-A79E8C5910A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74" creationId="{3AA9BFB2-75E5-A594-79F8-B9D4CD374D4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75" creationId="{82A41E34-1F61-C14E-F203-4794C45B5A4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76" creationId="{6CBACF15-091E-6BE3-6276-B346BAEC9A9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77" creationId="{2F7362D3-63F2-4E40-C410-9848237D187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78" creationId="{A722E458-352C-E6C5-E7D2-4E0E3772F27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79" creationId="{EE100234-C1F5-1324-7961-1CD8EBB73E3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80" creationId="{77481C59-26DB-E933-8D7E-35D6EFF50A1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81" creationId="{CA4C6426-3CB9-8CF6-7371-FAD6EFFE569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82" creationId="{202944AC-FB7E-4B06-C62D-62BF9FC3131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83" creationId="{6A8FB627-F84E-468B-101C-DFB9CE968CB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84" creationId="{5DD909BE-3A0C-8058-D755-FB33BCF5EE3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85" creationId="{FBB34A1E-1028-FDDA-B91E-F166484B42C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86" creationId="{7BF77F1E-85D8-B4A8-8DA5-70177D13AF8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87" creationId="{AC3B7D08-99FE-4900-16A3-280FB4652B7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88" creationId="{4DB0D2F6-9984-6C19-0D4F-384A6BF81D6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89" creationId="{BCA38ED1-5456-F25B-558F-95A1229048E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90" creationId="{3F2D7724-8511-AFB2-BE75-1E9F20C1FF1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91" creationId="{77F87B8A-CAB8-39A8-FE6C-EBFCE090A3F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92" creationId="{399CD451-B2EA-0817-5C39-E3B91CA35E3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93" creationId="{B24B9CFF-FA3A-998E-EA45-2AC8134D73D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94" creationId="{DBE0EEE3-F7B0-B6E7-B8AB-1C8AE659EEF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95" creationId="{672F1AE8-95BF-B3C8-A032-3432D2B16D1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96" creationId="{C283552B-E443-C18B-D694-7B8ADCAA739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97" creationId="{2E016166-2309-67B7-14E5-69EFD441786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98" creationId="{89C98E25-5D24-C9DF-84A8-21F33673412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199" creationId="{EDB92CC6-99EE-2B1B-06D5-A4966A6D459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00" creationId="{698AE830-23D3-3991-DC27-32B37BBFEE5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01" creationId="{40EA8C23-E5F2-C6F5-7FA5-B9B17A84468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02" creationId="{0D657567-9F07-9AAD-1C33-DF27CC836E9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03" creationId="{1F9E58CC-789F-4795-08FA-CC5A4D1C586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04" creationId="{9E41EFE2-3397-56D5-7F4B-9E027EDB97E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05" creationId="{0CA10599-46CD-6037-A36C-E0E0CF387A0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06" creationId="{6BCB79C7-2E3B-2C24-9975-126FFC764CE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07" creationId="{456954E2-183E-CBF6-0A68-B832F8C392B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08" creationId="{11352029-7FF5-8778-D03E-28E58534788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09" creationId="{F387E325-716B-1F92-0E85-4B8C647CAA7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10" creationId="{A8539FB9-CF1F-CC7E-134A-17F83E0F8A9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11" creationId="{DA0B3534-EA85-9B20-4F4C-3480206C5C8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12" creationId="{A1B05701-9C8B-695D-44B3-313A869F2E9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13" creationId="{0D1BB70B-A67A-C858-FFA2-C5FE4C4C2E1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14" creationId="{0D09B05B-E750-AD9A-4336-2C6F4CA716B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15" creationId="{6ED99348-DC4F-FD41-1547-493CD382CE7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16" creationId="{165A19CB-57D1-6A26-C029-A8B6E529BA7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17" creationId="{15E63545-302A-9886-F6CD-6143133CE98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18" creationId="{D58BD364-9AAF-9ED4-F6CB-7C1AA943F6A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19" creationId="{6015E92E-EA47-41A0-49AC-C36FCA13B9E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20" creationId="{3B3BAF36-F578-22B8-FADF-6F50FDF1A14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21" creationId="{15DDF0BA-5854-CA3A-705D-675C948E725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22" creationId="{9E586EED-3089-B696-11E3-2734F1BAC56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23" creationId="{8BE26CFF-DC7C-9493-E54F-27F448E982F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24" creationId="{E7D954D6-540A-6359-CA92-D81C9D715AB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25" creationId="{E9704D80-F70B-72FC-BBED-B8C8941FCCA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26" creationId="{5B9C069A-92D0-136A-B1D7-7A70351A70C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27" creationId="{D4D55CD4-AA44-A36F-9440-BE3E5D11E02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28" creationId="{4B8D1D87-B8A3-B40A-F819-9D1DCC98D45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29" creationId="{4B2FE79A-D642-0E4C-C334-4FA48D2E52C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30" creationId="{45A95BE3-2399-0FFB-1633-08E4A9989CD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31" creationId="{DF919107-6368-B169-5183-0E3EA580C47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32" creationId="{AE2B2C88-E157-7FD1-723A-0CF62E09017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33" creationId="{99364F10-1F83-C302-E842-965ADA53ED4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34" creationId="{D660DA85-7DEF-7852-D4A5-62DCC49A1FC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35" creationId="{59EAC163-49F3-FDAF-0015-9D0258D1A96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36" creationId="{96E84CAC-85EE-A390-3221-50E09CFB277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37" creationId="{F41C1120-EEC2-CD34-502A-50B60690E38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38" creationId="{5DA31DC6-816D-0536-DC9F-EEB08CF74DB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39" creationId="{3CCF56F5-BEAF-CCDC-BEC6-556CDA918A7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40" creationId="{478FACB4-825C-3C3C-110E-20580A113A4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41" creationId="{4308E3B0-C5BF-CC52-5532-3381B019A72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42" creationId="{5BBC1E41-58F0-14F7-0964-7C9654D6FF5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43" creationId="{04E475FD-1A3A-F4D9-FFE4-E70E8925CF8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44" creationId="{ACCA00E0-CDAC-F9EB-D701-E8F5A84C519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45" creationId="{B22AEAB8-9098-8234-D2A1-48D3F947362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46" creationId="{1D9B9A2E-F883-6194-CB6C-4DB01486211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47" creationId="{BC149D65-ACD0-4B4C-BCD5-E22F6114CE4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48" creationId="{D585897D-7ECD-496A-CB8A-749102846E6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49" creationId="{A101F6D3-9869-CCAC-A431-E2A2B13EBD4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50" creationId="{0B62C3A4-19FB-C7D6-3F6A-A2BE7251C8B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51" creationId="{F9A041A0-183F-7552-2EEF-7D96F2AE094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52" creationId="{A0847488-387C-F7FD-E7A2-3D3AE85C30C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53" creationId="{449062D0-3E33-16AD-1E7C-E1C6C02E306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54" creationId="{75D21D8A-AC4E-C4B8-BC50-8AA638D9254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55" creationId="{F92BF97F-2C3A-C9FE-30A3-7C26264271B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56" creationId="{26FC1574-CF1F-7112-B71E-62095FDB1AD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57" creationId="{D336E4C4-4FBC-DC71-0511-B56186936C7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58" creationId="{DFCB190F-0915-8B08-7B95-2F7369F7DBC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59" creationId="{85BF9994-87A8-4131-EBFF-941CDA65186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60" creationId="{70F3A9B2-8635-9F88-2885-6038A00E146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61" creationId="{0B7DB740-B57C-FA4C-ACB2-8300B0E899F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62" creationId="{C6F3C108-AB40-DF34-D42B-757883E4021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63" creationId="{09E9D7EB-C4B0-0B3B-343F-0B36A39A470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64" creationId="{E511AC12-ADAD-3DB5-CBE3-A05AED42EB2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65" creationId="{DB4AE979-4A22-69E1-55FD-0D31790992E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66" creationId="{6E10CC4B-E4A7-0510-0D0C-46F34DF5F3B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67" creationId="{82EA37B3-B454-9C63-E1E5-1E2AF2CFB48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68" creationId="{EFEE89A5-6DDF-AC3B-D20B-1D730129CA0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69" creationId="{2FE6885A-10AE-544D-1BFF-6DA9F03AB39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70" creationId="{A577D7DB-5B85-0142-DF9D-4DCE1234ED5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71" creationId="{ECA792BB-F148-8825-5372-67985289705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72" creationId="{BC94FDC1-CF10-7999-D575-5C3A267956C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73" creationId="{29A21B5E-BB0B-17EA-ACC4-9933FD5F2CA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74" creationId="{7AFFC96C-339A-E519-AE7E-D99D8978B9D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75" creationId="{13017C88-6814-43CB-BFAC-7DCD4E31D80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76" creationId="{808C517E-5F0D-C7C4-DE7D-FC56BAE0C59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77" creationId="{2A0BB946-8108-6C31-DA3D-0D4E15D998A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78" creationId="{6D05BCF4-76A3-3229-23BF-7AC6B46994D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79" creationId="{09046A29-7ED5-B611-584D-6DB3F688770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80" creationId="{36B503FF-9426-23D3-5387-C5EE495369F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81" creationId="{FE0B0880-CC45-37B5-EF3B-C33781D7881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82" creationId="{8DDA1629-DBFA-C741-8EC8-8EDEF6D2242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83" creationId="{6056D145-8B3D-B6F1-1C31-09E7F40CF01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84" creationId="{97A2061D-65C2-6103-A74A-ED47AF714A5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85" creationId="{B8DD42EC-D34A-9F6C-7A07-76C0519A1B3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86" creationId="{6DCCAB24-1B3A-E861-B307-EF981A341C7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87" creationId="{7DEFA01B-79A8-B683-A29F-227B39ADBB2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88" creationId="{9E28E5B1-6009-B5F6-CF2A-7553C4C3002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89" creationId="{956C8A70-4DDD-90B6-0A53-B1C091BB1C6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90" creationId="{949146DF-9A1C-70EA-4E60-11B47C944BE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91" creationId="{AC78EA0A-893F-567C-4648-4BBD1D000EA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92" creationId="{0EDBC5CA-D62E-B4F6-2D70-CD91729A810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93" creationId="{FDBB6E63-211D-ED5D-4787-99260CC5218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94" creationId="{CF1AE8D8-576E-50AF-93E5-42785F302F5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95" creationId="{DAA672C6-BB8F-2992-835B-DFEA244B38C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96" creationId="{6D0C8A95-3906-217F-372A-C8FC1398F21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97" creationId="{E143504B-5B63-94DC-80C1-07575643B97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98" creationId="{5F7982D8-4875-8ACB-8417-DFAC06F2E82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299" creationId="{5B34A10F-FCC8-3D95-9F1C-B8A8D89584C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00" creationId="{85AA20F1-E6B8-EAB4-1EF5-DCB6141D040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01" creationId="{FB70D41E-2E6C-BD7E-6B34-7E0C34203A9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02" creationId="{613D6C8B-3B45-86F4-A70B-4F9C964CD37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03" creationId="{AF4C0EED-DDE7-226C-AF30-E6C54567746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04" creationId="{FA040384-7516-F995-B4CF-C082DDCC8D6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05" creationId="{FB8B80B0-2DCC-AD9E-E45E-5E85D04B680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06" creationId="{A0C28268-7333-0079-0FA8-B1F790F518E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07" creationId="{06302BC4-D3A6-7C54-D78C-0CF7AD0ADCD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08" creationId="{CD33EEE1-079F-599B-5B70-40F0C1EADD3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09" creationId="{A0FA09BF-A838-E845-17DA-27B0E2E2A93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10" creationId="{BFCA54EF-01F8-EE0C-6315-5795B0479F2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11" creationId="{F096CD4F-F367-3C14-7BD3-DDA7B1D855F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12" creationId="{2C819CEE-D398-38AB-5B4C-43FA84F13F7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13" creationId="{8FAADA79-0A51-4FFE-5FC5-0B51D2F96F3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14" creationId="{B19FEF59-237F-6C4F-64B6-766175EA9F8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15" creationId="{3FA843D8-93CA-41CC-5061-82F7EA14894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16" creationId="{A5807E35-F86D-8625-C8F3-3CD56CE9592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17" creationId="{C755780A-E746-3381-6C0E-96EEF9B8957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18" creationId="{356E329F-0AB0-5913-BD59-7E9DBCE1983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19" creationId="{EA04FB05-60DB-82C7-F773-8266D7EE439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20" creationId="{B7037E57-4675-3048-90AA-7369004F625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21" creationId="{A0D13349-53F4-232E-A26B-96D50379A9D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22" creationId="{BE102A17-5AD1-D598-B3F0-6053D0AEA59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23" creationId="{4C9E0AF1-DDE6-E621-293E-A44BA76F9EA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24" creationId="{06D55AEB-E6A3-5818-985E-F757802422D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25" creationId="{92622D26-2653-670F-C821-87626610414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26" creationId="{6B139E2D-AD62-449E-EA12-A857076C423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27" creationId="{91643ABF-14ED-ABD1-0BEE-12521C3432C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28" creationId="{666E2403-E289-F8B8-A5A6-BAB286B383F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29" creationId="{668FC691-D1AB-7DA8-4DAC-693D73BC7AC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30" creationId="{67301A16-06F2-D4E9-B449-E32A9D32788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31" creationId="{3E9C8664-B2A8-48D9-9353-1DF0985F897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32" creationId="{46385EBA-7649-2AB4-0A63-56315153C0C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33" creationId="{1B161EF9-4CD3-085F-C7EE-E661464B7BC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34" creationId="{87E5B093-25AE-A1FE-39FB-C8D3062A303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35" creationId="{9E67B121-265C-4D45-9FC8-58888686003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36" creationId="{FF0E5105-7EBA-E5E2-3C41-14EC9B013F1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37" creationId="{9E29FEDD-9881-E802-32B4-2C25394C7BB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38" creationId="{F650AAB0-22BB-D95E-DDB4-2BACD811D3D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39" creationId="{3B862668-E34D-0FE5-7CBE-FED95FF2C73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40" creationId="{DF7029F5-25EB-DB0D-357C-B26685FA409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41" creationId="{40F5EAA3-1C06-BD3A-049F-637DDB22AA4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42" creationId="{96274F3E-A870-AC92-F274-7CBD9E964C4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43" creationId="{C19343A4-47DD-6FE0-8154-60D3AEA63C1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44" creationId="{674EC87C-47C6-E046-543B-F97902F3A6A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45" creationId="{7A24C11D-5AA2-BDE5-B4FD-A52D1A14F15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46" creationId="{9184FEEF-975A-E98A-6A93-62BB3BE1562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47" creationId="{CB729788-1629-8928-A7D4-E69D446BCF1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48" creationId="{4E54D772-9121-8A1B-92A1-9E9364A483E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49" creationId="{061F0934-8FC3-C1B8-002D-7F0729345F9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50" creationId="{F0C38A48-C6AB-D232-3238-334A0869F65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51" creationId="{A70A7A30-D92D-D18F-5F7E-96AEE199C3F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52" creationId="{8C133302-2184-B5D4-612D-4F289E1EB04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53" creationId="{56118782-0160-C3F9-6089-BA1DEEA4AF2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54" creationId="{75FAFF6D-2477-FA79-2CFC-1E8F5A1F100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55" creationId="{CADCB72D-76E0-AACB-35EC-86FB4434756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56" creationId="{49840D82-4FF1-3D3E-A733-A1FCDE4F43B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57" creationId="{95696364-39BE-C486-40D0-B501BBF679C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58" creationId="{B608B343-778C-FD61-A3BD-6A9C0077909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59" creationId="{41A52601-38B9-3D65-C1D5-732CA58E234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60" creationId="{4C532779-FCA3-4332-4A5F-9248383AF02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61" creationId="{E45FF573-1047-ECEE-FF6F-A8D9B675799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62" creationId="{82BF659C-8426-A541-85A3-4C4DA8F808F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63" creationId="{C670E182-F115-E5A8-4C45-E8BF41437AE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64" creationId="{49A37FF9-2AAE-E679-E707-734A5333923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65" creationId="{0D92CF82-9C62-9C79-DFBD-E67FC84672D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66" creationId="{D3CCAA66-379C-B674-B5DC-ACCA53AE291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67" creationId="{BE189627-6195-19DA-E54A-9A0038E0907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68" creationId="{F763414C-E36D-6414-6B61-FC898336A66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69" creationId="{AC25824E-BF23-9165-71F8-8E85794DB35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70" creationId="{796DD04C-F21A-6CC6-EAC6-A14BC96430C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71" creationId="{AF0C8FA3-BCDE-2A38-FD2B-4FDBB7ECC2A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72" creationId="{793A326D-30D0-E60B-94F3-C9239C57E58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73" creationId="{C18BC1CE-CD6B-1DBF-9CDD-DDA9D3C7B33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74" creationId="{F4A07492-1845-BD3E-3865-56DB1BE741B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75" creationId="{33CEE7A1-ECEE-7DAB-2F94-37AB48ED099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76" creationId="{C38F550F-1F6B-8A29-DF9E-8C72D4BC0DC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77" creationId="{4FA80762-6F91-7ECE-F9D3-AF7EAAB4E08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78" creationId="{12D70D04-CC64-695D-E2D8-F170EEC9933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79" creationId="{09814924-ED2D-09B0-B620-FE2F2E8D045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80" creationId="{8105FD52-C889-3A1E-FC54-FBEA69C4491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81" creationId="{A18DC0C7-0866-B54F-736B-E24DDC676C7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82" creationId="{4FE16922-DBA9-1D35-6965-D82F4A7EE8D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83" creationId="{9700C5D5-B17F-651C-6020-A182663CDE5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84" creationId="{9091DAD7-6EDE-7370-9BC3-1E0EB1D9C6D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85" creationId="{B8D65110-9612-1368-7A08-D72192FEA76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86" creationId="{0206C440-BACF-167D-3146-0FBD4A0080B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87" creationId="{FEADC929-4833-E2CA-8CC6-F8568C1E3FE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88" creationId="{D7551F72-A655-C877-FD8C-2D744A2837C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89" creationId="{E7C2795C-2099-593E-F998-D67041169AA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90" creationId="{12B8B8D0-1283-9BED-AAAF-21C25679662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91" creationId="{47048B05-2B4D-1324-9FB3-BF4C2C1BA44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92" creationId="{5C806040-8972-FEC6-CB1F-9CE4D1EA170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93" creationId="{1FC3F68A-262F-11F5-EC68-A67D993EC58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94" creationId="{7EA50F69-7AEC-7456-B7C8-10AB10DF249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95" creationId="{A3E087F5-5932-5FDA-BFA7-6F9F510CE02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96" creationId="{54DFAE63-DA80-A1D3-7364-3791686DE07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97" creationId="{CE63A9E2-0462-ED62-EC0B-9071D0F8F27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98" creationId="{834EA22E-8793-79EF-58B9-9A1BC575A67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399" creationId="{434BDBB4-2C5B-BAE5-BBAD-480F04F8733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00" creationId="{34C7DF2E-72FB-0AB9-0CBF-4D8E778FCDE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01" creationId="{3CAC15C8-1E78-A3D5-F3CE-77AA4778DBE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02" creationId="{5AE428EF-1163-FA53-3D65-25B6A960EAD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03" creationId="{F88F3F2B-C9E7-FD80-1B60-2C261DABD60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04" creationId="{9A9F9786-DE5F-A334-8781-16D9393CDC2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05" creationId="{980CF095-6509-D32E-555A-33113937CD7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06" creationId="{E7E10F2F-DAA1-5C6A-294A-739CFF66C12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07" creationId="{568CDCE5-F6C4-D139-8273-8ADB6293A73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08" creationId="{0E7CAB31-4527-70DC-B07C-94CF46D4459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09" creationId="{CDB29A5C-B464-A98B-44DB-E7BF3F6782E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10" creationId="{C9211271-BE60-2151-5602-85C63C17B08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11" creationId="{B8D3512D-A74D-7531-0A9D-1F3A097D189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12" creationId="{3A0B5340-74B9-CAE8-6957-04563A37846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13" creationId="{4AEB7BF5-F068-558A-7CDF-EF3E1CD5082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14" creationId="{17BF09BA-1861-0459-AC2E-571005F5761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15" creationId="{C4AA6211-2EB7-CDCF-78D7-F4B518115CF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16" creationId="{36B3F762-9DB7-653A-B231-BD9000852CB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17" creationId="{CF218F40-94A7-E655-4736-E8AA8686C3E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18" creationId="{6475F8D1-A2C9-201B-BD0F-17A19F5A368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19" creationId="{A1313114-63F1-8E81-1C8C-EBE24E438FC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20" creationId="{025FED88-EECD-F21F-00CD-FEE86E4C22F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21" creationId="{B7DAB124-AF03-CD7F-858E-2CEEB6AA204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22" creationId="{020FE6A0-10DB-0AA5-4C93-D9C9B28479C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23" creationId="{0866D2F9-EA7E-5B28-91EC-62A3D1AE324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24" creationId="{EA35192B-37E0-2ADD-1BF9-542786722AA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25" creationId="{1B0C8156-E865-3EFF-4EE9-537677AEA78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26" creationId="{E49E1616-D9B1-9E7C-581C-278D12C359A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27" creationId="{0E187F45-53EB-6328-5E7D-7B3FED12363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28" creationId="{F86BC2EC-7785-12A7-2B34-3B3CB6C4DB2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29" creationId="{D203B6F8-39DD-52F2-45EC-925416BA486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30" creationId="{A4F211B2-F328-AF8E-F5F3-706AB22D6AA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31" creationId="{CCAD22F0-EA45-C816-F357-56BC52303CC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32" creationId="{7050F237-3550-E20C-D1E0-C5D32A9CFBE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33" creationId="{D1537C5A-375C-4416-1A08-0D4DCC06096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34" creationId="{8F5FF5AA-C237-660C-3E77-2BC7D75E42F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35" creationId="{6C12C12B-81D9-463B-FF44-7A89D62F18B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36" creationId="{6B8DF913-75C4-607F-4746-246E61ECC22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37" creationId="{0954564B-23A0-0592-ECC3-7FB13AA74A4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38" creationId="{8B50F237-6749-EC7D-7329-0292B2C612E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39" creationId="{8341FACA-A92A-2475-93EE-4AD71B574F9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40" creationId="{AE7E7099-9A8C-E57B-D9D3-AE277152046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41" creationId="{C9E79814-F326-29C8-20F7-CEE4F7D13A5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42" creationId="{3147B035-06BE-58C0-EAAC-0390A3D72AD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43" creationId="{5DE872B9-A32A-2D00-966F-B48EF2E9721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44" creationId="{967CFF14-C978-BF6E-C50D-8809DD249F3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45" creationId="{0CD9A1EC-37C0-26E8-D98B-EA22812AC2A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46" creationId="{96D208B6-EDC8-2995-432A-C6DE9F69970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47" creationId="{8A67A13B-A499-0D8B-C5D5-EEB149C0C77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48" creationId="{14464D73-C1FA-AEDC-7BA6-D829D8930BD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49" creationId="{86C4A10E-7D61-E9D7-23F0-EAF0FE18638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50" creationId="{844A76EC-841A-446E-220C-412CA017B32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51" creationId="{B7118EA2-B85D-92AE-3CE6-77EF17BD36C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52" creationId="{92E2FA32-F866-4983-9DA3-17FA6D9428E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53" creationId="{98F71B80-66CD-DB77-248B-088041F2C50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54" creationId="{624CE927-4262-3B5C-C096-C961914BF1C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55" creationId="{9D77E376-5C4C-733A-E076-119D6812339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56" creationId="{EBD117BB-4E4E-8088-A752-D8AFD699B40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57" creationId="{6BF454C3-AC1B-E951-563B-CC89E162933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58" creationId="{D6A334B6-9D6B-2E8B-3801-B139F59F7A1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59" creationId="{9BB8899D-51DD-6D0D-2131-8A5FC9A8040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60" creationId="{254D0F6B-308E-61DC-E12A-47ABA8F63FA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61" creationId="{15F91633-687B-F067-2793-D3A7677F091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62" creationId="{90032232-CD13-6341-B87E-9CBB14C9195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63" creationId="{BAFE2FFB-B8C9-B13C-7D2F-648FC843EDF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64" creationId="{5D52CB7C-2E1F-9ED2-3053-B7BE86A53C1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65" creationId="{C79E5053-B0DF-BBE2-8BA8-645F6865D1D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66" creationId="{89A5D91D-5B7B-1C53-EE10-FF880C469E0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67" creationId="{4F25536A-27BC-734C-4925-BFB1C6901D4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68" creationId="{2C46FAB4-AB80-11E9-E8E6-48D197DCB97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69" creationId="{E9593D11-ABC1-085B-6ACA-2AC58D3C26E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70" creationId="{1E9DC94D-ED9F-0E05-D4A5-69F36B3CD46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71" creationId="{1F1FD97A-4E29-8A1C-234F-4ACBB883D28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72" creationId="{9E1676A2-0CE1-86F1-6EBC-81C73AFB43D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73" creationId="{2FC1A7D6-41A8-767E-0230-CB529E35944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74" creationId="{77C140BA-50C3-91B4-1D7D-5FD8B40DB98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75" creationId="{6A81079D-4890-36FE-45E8-40E325C58FA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76" creationId="{425E5984-434E-4D81-4000-6C05209682C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77" creationId="{3AF3C83C-0063-2C41-C3B0-035F666DD8E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78" creationId="{B4755A86-60B6-DFEE-0CE4-63713CA3CE9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79" creationId="{E5E82DAF-2F37-2B77-F255-43606DCE524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80" creationId="{2B426E8A-21E5-6627-AE73-7C854AF9F72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81" creationId="{7646C432-48DB-935B-E039-76DB8686458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82" creationId="{B2E021A7-FBF9-65F5-70CA-D9E68E48D5C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83" creationId="{5A1AF6ED-A0FC-D3C7-6549-3BC83EB5C0A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84" creationId="{4587D4B6-EBBF-2445-F7D6-ED22A31AEFE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85" creationId="{290E0330-F89E-ED6D-3FFB-7E298D06D06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86" creationId="{A0D3F522-C346-702D-D8D1-8141C1E0BA1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87" creationId="{63B2256B-2398-EC91-C167-A5EDEDFC881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88" creationId="{93EC97E9-66DA-4AC6-BAC7-839F9CA1CEB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89" creationId="{0372B12E-5E3B-D911-0B6E-F9717631988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90" creationId="{9120E411-FED8-C1D0-737D-2736A76DA54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91" creationId="{7768D4AC-BAAF-4A8B-71A6-8986B35630D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92" creationId="{C4227D69-0810-F005-51FD-C9396E75A69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93" creationId="{5899DE8E-773F-A3E0-7E47-782BEA61529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94" creationId="{D3C66439-1641-355B-8B5F-1953E957174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95" creationId="{A2D6ADA7-CBA6-44F1-261A-797D1FA039F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96" creationId="{3916E547-2AED-F62E-878D-4467AC0A51F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97" creationId="{042995B0-7091-1783-C824-2154763DDEB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98" creationId="{2D99A73F-AC01-BAE3-9ADF-89FE2CE9BE3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499" creationId="{DD1F3872-F2BD-BD94-A898-8D390B0971A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00" creationId="{87E7EFEE-85F1-2847-ECE8-E1839474CF5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01" creationId="{F3558B08-22D5-2BD7-AAEB-FEC5CD6D5B5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02" creationId="{8DA20A82-A8BB-1AB4-CCCA-93230589C9D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03" creationId="{8D7A64CB-55E6-53DD-4F42-BF0E9D4C1217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04" creationId="{05976561-DB9E-3C9C-8F23-33493CBE285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05" creationId="{16056ABB-A6C0-2F74-D45C-4580E1D0B6A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06" creationId="{2F7A4358-7BD4-3F06-2E52-0A338080DBB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07" creationId="{D9DAC6D5-9CDD-D7C5-DCDD-2E354E6F1EB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08" creationId="{A30E4CEC-82F2-DCA1-0C45-9A497010DE0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09" creationId="{29C7008A-1532-249C-463D-CD290A4D700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10" creationId="{C39B21B9-982F-5A40-9145-2A80A73DAD5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11" creationId="{23DA308D-D250-6F81-AD1A-D09BCDE5B3C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12" creationId="{B3E2C9D5-1380-0E91-9B9A-031A170BB14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13" creationId="{1950B599-423B-A8E6-3353-F127F71BDB7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14" creationId="{40E685D9-EC47-01A1-86E9-8E3768B5A81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15" creationId="{24F3FEC4-C831-0639-6171-56E1A6C824A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16" creationId="{8063FD72-AB7B-CEAE-A51A-65804630EDA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17" creationId="{4233CC6B-8D0A-2155-20E9-23812DD40A9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18" creationId="{92257DC4-0574-06F0-5ED5-994F4684210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19" creationId="{DA0E1742-E598-A29B-BA9A-3F39B57B5D9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20" creationId="{D7C6854C-85B4-96D3-9B08-8713C1CDA87D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21" creationId="{AC020A87-EB79-1B51-C792-C62269B2DDEC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22" creationId="{C6B5A446-B793-A423-A736-A2CBDC70F5B8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23" creationId="{2B75A921-E94E-FAFB-2A4A-DEF231F184F9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24" creationId="{45C3DD8E-4055-28E5-2658-7D1CC73161C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25" creationId="{7D67460F-B14D-0039-A3B0-556CB64D31AF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26" creationId="{1504523E-AEB1-75C3-9E53-4271278C3EB4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27" creationId="{D83C8F2D-3F30-6550-3635-C8D355CDB87B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28" creationId="{45225748-4AD9-C79D-2BA1-9A825CFFB5E3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29" creationId="{7280B18C-C134-2E25-A679-360E53FC9C90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30" creationId="{6C7518FA-7D3A-3AD2-6A58-1BC22A28602E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31" creationId="{927D17F0-7776-228F-2EFA-BEB661ADE9A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32" creationId="{C63409BB-E517-0561-7163-6F11109B9795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33" creationId="{5CE49F2F-1C73-D8D8-870D-9E753977E9D2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34" creationId="{C3804F76-7A40-4EEA-7803-4FB02306A0B1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35" creationId="{B66122B4-884A-2C5C-153F-4FD6E8B8EF0A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36" creationId="{57C09248-53D2-2498-1330-9619C1853366}"/>
          </ac:spMkLst>
        </pc:spChg>
        <pc:spChg chg="mod">
          <ac:chgData name="qaulan sakila" userId="b18b7923db98f7e1" providerId="LiveId" clId="{FA076623-D52D-4E06-81D7-7A6044D12FB1}" dt="2024-03-02T11:00:07.572" v="113" actId="2085"/>
          <ac:spMkLst>
            <pc:docMk/>
            <pc:sldMk cId="1105292303" sldId="258"/>
            <ac:spMk id="537" creationId="{9AE9B35E-4F2B-2F90-4C48-0C55E0DB9782}"/>
          </ac:spMkLst>
        </pc:spChg>
        <pc:grpChg chg="mod">
          <ac:chgData name="qaulan sakila" userId="b18b7923db98f7e1" providerId="LiveId" clId="{FA076623-D52D-4E06-81D7-7A6044D12FB1}" dt="2024-03-02T10:57:07.630" v="95" actId="207"/>
          <ac:grpSpMkLst>
            <pc:docMk/>
            <pc:sldMk cId="1105292303" sldId="258"/>
            <ac:grpSpMk id="21" creationId="{DAA8437B-CF2B-7507-BF5A-BFDC7CECC2D0}"/>
          </ac:grpSpMkLst>
        </pc:grpChg>
        <pc:grpChg chg="mod">
          <ac:chgData name="qaulan sakila" userId="b18b7923db98f7e1" providerId="LiveId" clId="{FA076623-D52D-4E06-81D7-7A6044D12FB1}" dt="2024-03-02T10:57:07.630" v="95" actId="207"/>
          <ac:grpSpMkLst>
            <pc:docMk/>
            <pc:sldMk cId="1105292303" sldId="258"/>
            <ac:grpSpMk id="29" creationId="{E8DF1307-9176-92BF-825B-8077B661E950}"/>
          </ac:grpSpMkLst>
        </pc:grpChg>
        <pc:grpChg chg="mod">
          <ac:chgData name="qaulan sakila" userId="b18b7923db98f7e1" providerId="LiveId" clId="{FA076623-D52D-4E06-81D7-7A6044D12FB1}" dt="2024-03-02T10:57:07.630" v="95" actId="207"/>
          <ac:grpSpMkLst>
            <pc:docMk/>
            <pc:sldMk cId="1105292303" sldId="258"/>
            <ac:grpSpMk id="30" creationId="{125B9EF6-942C-1883-ECE7-079C7D085F5D}"/>
          </ac:grpSpMkLst>
        </pc:grpChg>
        <pc:grpChg chg="mod">
          <ac:chgData name="qaulan sakila" userId="b18b7923db98f7e1" providerId="LiveId" clId="{FA076623-D52D-4E06-81D7-7A6044D12FB1}" dt="2024-03-02T10:57:07.630" v="95" actId="207"/>
          <ac:grpSpMkLst>
            <pc:docMk/>
            <pc:sldMk cId="1105292303" sldId="258"/>
            <ac:grpSpMk id="31" creationId="{2FD12407-6626-A438-0E1D-EC83B1F7E663}"/>
          </ac:grpSpMkLst>
        </pc:grpChg>
        <pc:grpChg chg="mod">
          <ac:chgData name="qaulan sakila" userId="b18b7923db98f7e1" providerId="LiveId" clId="{FA076623-D52D-4E06-81D7-7A6044D12FB1}" dt="2024-03-02T10:57:07.630" v="95" actId="207"/>
          <ac:grpSpMkLst>
            <pc:docMk/>
            <pc:sldMk cId="1105292303" sldId="258"/>
            <ac:grpSpMk id="64" creationId="{12AA48F7-DB71-68E3-03A0-4F5A8D5D946B}"/>
          </ac:grpSpMkLst>
        </pc:grpChg>
        <pc:grpChg chg="mod">
          <ac:chgData name="qaulan sakila" userId="b18b7923db98f7e1" providerId="LiveId" clId="{FA076623-D52D-4E06-81D7-7A6044D12FB1}" dt="2024-03-02T10:57:07.630" v="95" actId="207"/>
          <ac:grpSpMkLst>
            <pc:docMk/>
            <pc:sldMk cId="1105292303" sldId="258"/>
            <ac:grpSpMk id="65" creationId="{48729D7D-65ED-D00A-B43E-BA9848079519}"/>
          </ac:grpSpMkLst>
        </pc:grpChg>
        <pc:grpChg chg="mod">
          <ac:chgData name="qaulan sakila" userId="b18b7923db98f7e1" providerId="LiveId" clId="{FA076623-D52D-4E06-81D7-7A6044D12FB1}" dt="2024-03-02T10:57:07.630" v="95" actId="207"/>
          <ac:grpSpMkLst>
            <pc:docMk/>
            <pc:sldMk cId="1105292303" sldId="258"/>
            <ac:grpSpMk id="66" creationId="{B9E88F19-90E5-F1D9-3C50-A40CF2064FCD}"/>
          </ac:grpSpMkLst>
        </pc:grpChg>
        <pc:grpChg chg="mod">
          <ac:chgData name="qaulan sakila" userId="b18b7923db98f7e1" providerId="LiveId" clId="{FA076623-D52D-4E06-81D7-7A6044D12FB1}" dt="2024-03-02T10:57:07.630" v="95" actId="207"/>
          <ac:grpSpMkLst>
            <pc:docMk/>
            <pc:sldMk cId="1105292303" sldId="258"/>
            <ac:grpSpMk id="67" creationId="{594FD0C0-9288-BACA-75D2-63491B1289BF}"/>
          </ac:grpSpMkLst>
        </pc:grpChg>
        <pc:picChg chg="mod">
          <ac:chgData name="qaulan sakila" userId="b18b7923db98f7e1" providerId="LiveId" clId="{FA076623-D52D-4E06-81D7-7A6044D12FB1}" dt="2024-03-02T10:57:46.788" v="100" actId="208"/>
          <ac:picMkLst>
            <pc:docMk/>
            <pc:sldMk cId="1105292303" sldId="258"/>
            <ac:picMk id="18" creationId="{E98BCF24-D9BB-7684-6DDE-B93D798D22F1}"/>
          </ac:picMkLst>
        </pc:picChg>
        <pc:picChg chg="mod">
          <ac:chgData name="qaulan sakila" userId="b18b7923db98f7e1" providerId="LiveId" clId="{FA076623-D52D-4E06-81D7-7A6044D12FB1}" dt="2024-03-02T10:57:46.788" v="100" actId="208"/>
          <ac:picMkLst>
            <pc:docMk/>
            <pc:sldMk cId="1105292303" sldId="258"/>
            <ac:picMk id="19" creationId="{37786D3C-8F4E-F8D0-F569-1F3A8687180D}"/>
          </ac:picMkLst>
        </pc:picChg>
        <pc:picChg chg="mod">
          <ac:chgData name="qaulan sakila" userId="b18b7923db98f7e1" providerId="LiveId" clId="{FA076623-D52D-4E06-81D7-7A6044D12FB1}" dt="2024-03-02T10:57:46.788" v="100" actId="208"/>
          <ac:picMkLst>
            <pc:docMk/>
            <pc:sldMk cId="1105292303" sldId="258"/>
            <ac:picMk id="20" creationId="{8F83386E-AD38-A059-AD71-31757E505A5E}"/>
          </ac:picMkLst>
        </pc:picChg>
      </pc:sldChg>
      <pc:sldChg chg="del">
        <pc:chgData name="qaulan sakila" userId="b18b7923db98f7e1" providerId="LiveId" clId="{FA076623-D52D-4E06-81D7-7A6044D12FB1}" dt="2024-03-02T10:47:25.993" v="7" actId="47"/>
        <pc:sldMkLst>
          <pc:docMk/>
          <pc:sldMk cId="1577662384" sldId="258"/>
        </pc:sldMkLst>
      </pc:sldChg>
      <pc:sldChg chg="del">
        <pc:chgData name="qaulan sakila" userId="b18b7923db98f7e1" providerId="LiveId" clId="{FA076623-D52D-4E06-81D7-7A6044D12FB1}" dt="2024-03-02T10:48:29.952" v="10" actId="47"/>
        <pc:sldMkLst>
          <pc:docMk/>
          <pc:sldMk cId="2362446551" sldId="259"/>
        </pc:sldMkLst>
      </pc:sldChg>
      <pc:sldChg chg="modSp add mod ord setBg">
        <pc:chgData name="qaulan sakila" userId="b18b7923db98f7e1" providerId="LiveId" clId="{FA076623-D52D-4E06-81D7-7A6044D12FB1}" dt="2024-03-02T22:47:14.771" v="1038" actId="14100"/>
        <pc:sldMkLst>
          <pc:docMk/>
          <pc:sldMk cId="4070234439" sldId="259"/>
        </pc:sldMkLst>
        <pc:spChg chg="mod">
          <ac:chgData name="qaulan sakila" userId="b18b7923db98f7e1" providerId="LiveId" clId="{FA076623-D52D-4E06-81D7-7A6044D12FB1}" dt="2024-03-02T11:00:30.247" v="116" actId="207"/>
          <ac:spMkLst>
            <pc:docMk/>
            <pc:sldMk cId="4070234439" sldId="259"/>
            <ac:spMk id="4" creationId="{41389EB2-2084-5FCF-7D93-DCFCEDE35700}"/>
          </ac:spMkLst>
        </pc:spChg>
        <pc:spChg chg="mod">
          <ac:chgData name="qaulan sakila" userId="b18b7923db98f7e1" providerId="LiveId" clId="{FA076623-D52D-4E06-81D7-7A6044D12FB1}" dt="2024-03-02T22:47:14.771" v="1038" actId="14100"/>
          <ac:spMkLst>
            <pc:docMk/>
            <pc:sldMk cId="4070234439" sldId="259"/>
            <ac:spMk id="6" creationId="{A1292577-4BC1-BD9D-146D-451ED469C9B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3" creationId="{B728D9D0-5B0E-8281-7E0E-1BAFCF5DCA2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4" creationId="{7265BF81-3172-0827-9616-53428F05313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5" creationId="{D24EB63D-00BD-F9E3-F619-AEC71240BB9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6" creationId="{1E3DAF2D-20FE-766E-A27A-DC44D2C0BDA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7" creationId="{D15EC6E8-2457-1B03-55F8-A923699F9A5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8" creationId="{32AAF18A-F78E-5FAA-D598-CC21FFA5F13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9" creationId="{4D1A98FA-4A58-6020-B467-60B460623FA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69" creationId="{FC705F97-149F-39D2-8535-F66C364F400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70" creationId="{B4FB92E4-3F77-113B-6DA1-B78B2B30B5E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72" creationId="{6E22F1F4-2318-1AFE-9CEB-C5146A5C845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73" creationId="{98339C3D-1CFD-2130-D72B-3A4E2925E5A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75" creationId="{35BBB248-BD31-A2DA-148C-C5878B0A4AD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77" creationId="{05CC8601-F8DD-C69B-4FF2-7B34F596151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79" creationId="{C8F4079C-C1B3-B7FF-1D6B-749D2D7230D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81" creationId="{BF37D248-75AC-E281-6CE2-A0D1AC8D4CC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83" creationId="{C5D60419-A24F-E2A8-21AE-905FFB74161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85" creationId="{26610BE6-9229-CABE-4062-EA5269778B5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86" creationId="{C504DDA6-751B-6A79-2AC1-721D1E69C00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87" creationId="{B00D353F-9CA6-77A9-B20E-03486A16C56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88" creationId="{3BFF0611-19AB-701C-C0B2-F066C43FC5FF}"/>
          </ac:spMkLst>
        </pc:spChg>
        <pc:spChg chg="mod">
          <ac:chgData name="qaulan sakila" userId="b18b7923db98f7e1" providerId="LiveId" clId="{FA076623-D52D-4E06-81D7-7A6044D12FB1}" dt="2024-03-02T11:00:30.247" v="116" actId="207"/>
          <ac:spMkLst>
            <pc:docMk/>
            <pc:sldMk cId="4070234439" sldId="259"/>
            <ac:spMk id="89" creationId="{79499F8D-58AB-73D1-69EF-A724A74176D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90" creationId="{6FAA857F-EB75-A2B6-4A20-896AB24BC81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91" creationId="{FAB019CF-07EB-5912-2CA4-40510D74399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92" creationId="{A1E70798-B721-93C1-3AE1-7D8DA0AC8C6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93" creationId="{C123C0AF-060E-7637-72CD-9C3C849DA89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94" creationId="{D5ABD383-FF9E-1966-02D5-D426B3EC6E5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95" creationId="{65F5B44B-E9A1-8E5E-3705-BE74D1C2BB1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96" creationId="{7A080972-9156-6709-9617-A01A007A56F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97" creationId="{79769423-2665-70D8-194A-A911695A789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98" creationId="{7F73988B-80BD-CEF7-3866-B2E915EAFCC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99" creationId="{8E026A1C-FB74-5319-ACA1-261787F78AF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00" creationId="{256A02C6-6251-DBA0-0EC9-014D6BA2CEC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01" creationId="{916312BC-485D-8FA5-DE2E-47CEF5325D1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02" creationId="{C0B2468C-6777-6111-C49A-60041CA92A1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03" creationId="{0B599A61-5441-2C66-7702-E83FBE64C29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04" creationId="{376B2C9C-B099-0DB3-2176-59D4EDFA929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05" creationId="{11784C05-109A-6461-DF7E-3D1CE8F1EF1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06" creationId="{330B94AA-A584-9BAD-EB8A-92200662E2E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07" creationId="{71565E2D-4D02-1D07-80D7-9395692DDC9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08" creationId="{9CEFF7C1-96A8-4437-2C43-BA9DE49ABF4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09" creationId="{4DF6AF91-FDD0-C76D-A58D-BB2CE696821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10" creationId="{2312598B-6B5E-E657-0FBC-D63F371B431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11" creationId="{217D2D3E-8D64-DBF6-4174-C4AA1BC3AFC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12" creationId="{FF52E05C-2AE9-C99A-2418-73CC4498AAB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13" creationId="{2062D4EF-F08F-034A-5ADD-FA2A53C8725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14" creationId="{EB645E81-7559-0A9D-AF28-ABA8C8FB2E4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15" creationId="{F61BED59-4FAB-91EF-2B6D-32F6B686FDF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16" creationId="{77AB1A12-CC45-B49F-B77F-CD52197A613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17" creationId="{7F244E13-D57B-E479-2EF6-8074CFEC491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18" creationId="{484453CE-B512-949E-C2B7-024D68D9651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19" creationId="{022AD673-0D2F-A7CF-A5F4-11CDD95D720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20" creationId="{94BAA2F1-E344-AED7-F04B-B141D895A25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21" creationId="{4118CAC9-9294-9123-DE70-1CADEE1B472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22" creationId="{63F59E5C-F159-2393-3155-8B07BE30A53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23" creationId="{7F4B2D35-ED31-9F1C-34BC-A18EF831FEE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24" creationId="{1E8DE56F-D203-EA16-EBA2-F482EB083D5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25" creationId="{478B5759-9457-8470-BEE1-69C550788AE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26" creationId="{77391AE5-D885-1A15-4640-457FC5F1124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27" creationId="{7B841D0D-BB8F-ADC4-1998-A06F994D3F2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28" creationId="{42F43247-E45D-EEDE-20A9-BAE9848E93C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29" creationId="{9C178954-4F96-45DA-2E7C-54265475A16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30" creationId="{566B814C-3FA4-C56C-58EA-4119F305C1E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31" creationId="{C74CAF0F-3933-B0EC-DBF9-1ABD83FC3D9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32" creationId="{D844FFEE-1A9E-0F04-DB41-E443265EE99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33" creationId="{6231152E-EC0C-B6C7-7468-9BC28740D70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34" creationId="{607C4512-BAB4-955B-91C9-C86F7A7B255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35" creationId="{862D3715-DEA9-4466-E7D1-7BDD415D39D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36" creationId="{75440BE9-166A-7C73-10FA-14D827C140F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37" creationId="{A5FD4F2D-94B3-49E3-FEE8-4B0AF2C834E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38" creationId="{F34275EB-6D39-5FD7-991A-393FE190097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39" creationId="{53DF4F65-C43C-1538-F9C4-D7E952DC5EC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40" creationId="{9BC07A5D-9851-5052-0862-8F598CFF1D2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41" creationId="{4177E761-AB0F-6C96-1D22-3B5C65D35F5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42" creationId="{14D93944-C98E-FCD8-9957-2798C76FBDB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43" creationId="{6C226E5D-24F6-0FC9-02AE-B2722B3136C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44" creationId="{6DA30CD5-FD8F-6045-8591-D58ACEA2DD4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45" creationId="{E52BA6A5-9A98-DD54-DBCD-F730A77EC59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46" creationId="{467DACF6-E381-2026-EF56-0D8A939E13D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47" creationId="{FDBF67EA-47B2-841F-3236-443EDBF91CF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48" creationId="{10F78530-5255-F0B8-0F87-81CF9890B7C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49" creationId="{14FF9153-A989-F50D-00C6-103AC1F0D98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50" creationId="{ED906CB0-344E-1E33-0125-41D3AA81BF7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51" creationId="{28C6379B-6490-8F3C-43F6-3EC54EC42B6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52" creationId="{2F3000B9-8967-878C-3D55-8C75F78AD2C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53" creationId="{9EA0BCFD-37BF-7DA2-0B77-1CEA7E72164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54" creationId="{9FD89D9A-EAC6-C645-E90A-908F45FC4CB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55" creationId="{9FB1145B-B004-3CD3-C8BD-9A9F7B4DCDB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56" creationId="{EC88A337-8671-64A4-B0CE-A343E0BE440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57" creationId="{8C773588-19B5-E898-2F37-D58B5FEAD34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58" creationId="{A9A4DBAD-B71E-E660-BE3E-A4FA5AE97A0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59" creationId="{1FECBCC8-8A03-ACD7-9505-6E809B2C250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60" creationId="{7BE122E3-EA9D-ABE8-4C04-7B7B5642130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61" creationId="{75A290A9-501B-EC48-659F-9D3265975F3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62" creationId="{D075AA8F-A657-2BF8-39C6-D1040724E97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63" creationId="{42DA8DBC-DA18-1A3E-B1AE-FB05447C8B4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64" creationId="{B28CC063-E00A-57C6-8C1E-F814FBB5C58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65" creationId="{E330C21A-19B5-13F3-4424-A2B88C34F09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66" creationId="{A16996D1-686C-4B38-DE52-E6F965583ED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67" creationId="{EB8479AC-AF47-BD78-8AAC-C938CEEB46B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68" creationId="{5EDC61AA-BFC1-2AED-FCDC-E1934AC598D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69" creationId="{0B1CBDE2-5448-F511-4910-9966B9B4006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70" creationId="{16293F0E-BD71-4F36-E725-F6119A76409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71" creationId="{8E97F7BE-6477-9001-AB07-2B9BF3896F9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72" creationId="{A705CF50-D80A-6442-2D24-4776324D9D2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73" creationId="{98110217-97A4-FF4E-C5E8-6E31D32FF90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74" creationId="{D3793767-3C7C-D48B-4544-95B66037FFF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75" creationId="{29957DA6-4749-E9E9-7E4D-3EBC6BD899E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76" creationId="{E4A8CF4F-7FF2-410C-2124-1814C6F3A52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77" creationId="{0FC3B014-AB9A-AFD7-668E-916D14BC264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78" creationId="{783305FF-78F1-712D-E901-CECD7DBBC27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79" creationId="{C01432E5-5FBA-0847-46B9-8A103334FA7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80" creationId="{803A1539-ADC3-C26A-AADB-712BE8D1DB8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81" creationId="{495E9BAB-7EA3-9037-27FD-1FAC28C7561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82" creationId="{8E17166B-DE28-B8B2-01BD-4B1B7809588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83" creationId="{BA2F2D7E-C9F1-DF6C-73FC-83CEA4EC438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84" creationId="{43607392-E025-E4FD-9709-590388FB5DE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85" creationId="{0D09BDA7-9EFF-5452-26A0-7CA95857A22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86" creationId="{5603665C-B3AF-154A-D477-DE9D2156795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87" creationId="{8DB4507E-DC40-C60A-00BA-B6AE41FA36E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88" creationId="{66F77054-62B6-E1A3-1347-A986D12C1D4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89" creationId="{6CF5C6E6-A506-0E2F-A3EE-C7B009EC034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90" creationId="{62BC0EA0-FAC6-CD72-A96C-32F692DE991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91" creationId="{0AF6015D-354C-E8CE-AD8D-44D8B0A63BC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92" creationId="{19C35D36-6FC9-FA00-529E-1E58C7EF028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93" creationId="{79EE6276-B107-4251-2B48-24557B41768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94" creationId="{81B69F70-9530-C8E4-4657-B2344BC41C4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95" creationId="{AE72A306-9B27-2AA1-7421-0653A6F9A50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96" creationId="{F2EB5178-ED9B-78F3-760A-534C4CB64A8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97" creationId="{AFC50F60-F768-960F-19F4-CC4B6F627BC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98" creationId="{C8DE43DE-B28C-E1AF-9964-C37CBC32C41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199" creationId="{7F7EE87C-9824-DCB4-E376-EBF8E2BDDBA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00" creationId="{F0E1E391-AFFD-3F5A-00A8-58DD53CC205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01" creationId="{5E2A102D-3C2C-C5A7-699E-FF14471AAA7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02" creationId="{3598B9BB-52FB-7EEF-7F93-AFB0C908678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03" creationId="{D8BC24B5-3F48-F61E-76A6-B498A9EB2E4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04" creationId="{C02D7ED6-72B4-A462-E013-880495D17F4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05" creationId="{A6693CBC-E366-36ED-1AC1-BE757EC30DE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06" creationId="{A2C073AA-43C8-76A4-8564-693FD65881C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07" creationId="{12C4CD9F-203C-A4FF-19CA-2B5AFD59814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08" creationId="{616CFA11-14AB-0A70-A961-3A993F8541A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09" creationId="{B742142C-0E15-E5FD-E51E-3134AEC3026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10" creationId="{2CA52A07-763D-0E84-884C-5C4E0A74297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11" creationId="{28741EF4-6B33-6AC6-46DE-070B716DD7D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12" creationId="{87ED4316-FA07-2BB8-3CAB-3C74FF2EF2A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13" creationId="{3C7C01A1-149B-4559-1948-FAE0187466E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14" creationId="{30A74336-41B8-EC8C-9C9A-5B5C41A0DA3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15" creationId="{6369A185-194C-0613-D3FA-236C46C52F5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16" creationId="{853086BA-5B8B-BEC4-8E8D-8EB955F08D6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17" creationId="{9E3AE526-0270-DC2C-E484-359764DB2F7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18" creationId="{D80D42E4-A220-B041-50E0-B7A4C26D318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19" creationId="{0770976F-F4C9-F411-5150-A5CDA51A2BD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20" creationId="{1043D7FD-3977-B4CA-4253-1823A10B4F4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21" creationId="{C926EA87-1DEF-C6AD-DEBC-03A969A6CD0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22" creationId="{60CBFF44-20FC-AE85-D0C8-754E674E05F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23" creationId="{076FB947-018A-B242-D49E-3F2AA4D7681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24" creationId="{25FE1070-BE5A-B22C-464F-608841B72B4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25" creationId="{A2E35FF5-1A67-FCF3-5626-152BF1AB9B4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26" creationId="{725B0FBC-629D-6EA0-9495-786E60D7639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27" creationId="{AEA1D6B2-F8BA-1863-1B05-6D4DE93C8E7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28" creationId="{E18CA33B-C3E8-E4A6-54D1-552388BA130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29" creationId="{FB03FD00-AF8F-1F6A-414B-FEDBFF0FCF5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30" creationId="{237E0BD2-E414-13C7-27B4-96A8E8D7FA0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31" creationId="{C1CECB81-3E58-96F1-F6F4-BC564ABE9D1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32" creationId="{4C686C17-2833-A69B-A5B4-0467D960136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33" creationId="{6EFC1A85-6191-34A3-2E21-52989AE41BA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34" creationId="{8BDFD81A-AD1B-D5C7-477F-3BDB0416213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35" creationId="{7A57031B-3BC5-BB2E-7DFE-C196FA391C1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36" creationId="{3E2A249C-0EAB-3D23-C009-5805A42DFCD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37" creationId="{9685AF89-6F2E-0397-BAAD-2DAB04CBCA3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38" creationId="{C9A0F214-57ED-7309-7761-138167CD587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39" creationId="{1C263D03-4333-C709-C408-F0914F3C2E9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40" creationId="{B5004F41-BC7F-8C8F-00EA-D22BB88A26C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41" creationId="{0A105D21-2DF7-A441-A42F-A18EFCA4057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42" creationId="{6851812B-6DCF-3274-3DD2-3917CB4C75D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43" creationId="{B4BC6CA3-7A7E-0106-E07F-5D6360BAC03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44" creationId="{00D61A84-BCB5-4205-5C5E-1C71E46E315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45" creationId="{D8557E76-4B4A-7BE5-1AD9-DEC23ED12DD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46" creationId="{A8217D37-F5CF-0F66-BA23-AE29B83A174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47" creationId="{00E7129E-E45B-C6FE-2E55-B7688680E04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48" creationId="{56F886AE-6D64-52B3-BF63-E4539D74937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49" creationId="{0DDA11D8-71EF-0EBC-4225-B20C46FC048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50" creationId="{D20A4F1C-3AD7-7224-2C28-E43CC9BD046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51" creationId="{EF97AE5F-C736-C7EF-0491-B9BA68CF9BC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52" creationId="{D057D6F9-5A14-C959-5823-8A00DDE7E1B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53" creationId="{70BE62F5-E2F1-93A8-E8AC-DDD53CD2AA6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54" creationId="{19B79589-D3B4-3997-BC09-7FC13A676AD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55" creationId="{3A762C56-00DC-59DA-F23F-E870A14117C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56" creationId="{8BDA122D-5159-ABA9-AEA7-B9348F2D843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57" creationId="{710785AA-D271-DB52-8906-1238D1FD34A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58" creationId="{7CCC1A3F-2F06-8DC4-3B7D-F70D4A625A0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59" creationId="{4077916C-8738-E2A7-1B8C-8646414588F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60" creationId="{9A1A0E5C-3069-3A3D-0763-502A3F08C93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61" creationId="{FEDE8962-C662-46E8-924A-2BCD78016C7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62" creationId="{80732A58-30D8-1B66-2B6B-DED9E954726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63" creationId="{E18309F8-D3ED-706B-BCE8-3899BD99220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64" creationId="{BDE91213-67CD-4299-4E1D-B66BA86FB95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65" creationId="{72863CAE-DAB9-F230-9BF0-BFC10E208A1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66" creationId="{606D396F-20F5-4E2F-8D0A-94E75578678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67" creationId="{4D533753-2518-7075-D926-5D1FA35FF8E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68" creationId="{39290827-5FE0-17EE-96B7-E26428652F2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69" creationId="{D2D89C9A-80AD-1B80-24C0-B0FBBA8D399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70" creationId="{8F13C081-CAEF-9F7A-0D7B-BFDA2F15203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71" creationId="{309969CA-23F3-BDA8-B4B1-65AEEA36DF0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72" creationId="{9B4718F2-A86F-F740-F69A-5EEBE8BFE37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73" creationId="{D3DBB0A8-2DD0-4CCB-5532-DE3599A9325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74" creationId="{DD64F79C-BFDD-E8D0-4F74-F132E54BD28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75" creationId="{C2073BBD-227F-6625-21E3-267FF8199AF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76" creationId="{9AEE503B-47A9-AB21-44FA-BE053DA9E94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77" creationId="{2E491644-BD22-17E8-1F13-F441F6B67B4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78" creationId="{03C1A340-AB93-04BD-70C5-EE89231D1FF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79" creationId="{8C30FADF-B462-4CBC-8530-898023099F0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80" creationId="{7112B334-9151-EF88-C407-408B0D6C7F7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81" creationId="{49AABFC5-49B2-D925-BC72-8D187422017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82" creationId="{6E3252BB-F860-9FB7-7B9F-FC8742A963D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83" creationId="{384E6051-55AF-AA55-F9B1-2329F5C8720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84" creationId="{02DC2A97-2A52-D420-9FED-4B5AE1AFC25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85" creationId="{305D5169-3CF9-5427-ABBE-5D6FF7AC626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86" creationId="{649B5112-71D3-4F1A-FC97-19659B7A597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87" creationId="{1DCB8183-D434-5DBE-914B-E001E66F2FB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88" creationId="{3318F138-664A-2996-4D25-CBA346D5626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89" creationId="{DFF8A16D-769A-70E4-A777-AE998732700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90" creationId="{8A89E07A-A11B-E877-42A2-5F63B7EB1CC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91" creationId="{40F513D8-1648-5659-E720-5C9A735A981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92" creationId="{2B503EF8-939C-F6C2-C179-B1BC1BB6509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93" creationId="{C0D64532-342E-4207-3AF7-AAF10B43F65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94" creationId="{A14C8187-9BF6-25DD-4950-430D209383D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95" creationId="{B4D9D3E5-59CA-FD4C-AEEA-365E6AEF727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96" creationId="{593F7E9D-5CE6-BA7C-EA32-3C863245C64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97" creationId="{1B127F1F-2149-8E84-C4A3-3A9BDC1F611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98" creationId="{90D9B45A-483F-5054-99C6-AAEB756AB82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299" creationId="{BA10F801-A1F5-C963-3A4A-ED63F0267E3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00" creationId="{813C688B-3AC8-0A45-BE47-41F6C86D875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01" creationId="{EF8504D7-D05D-65EF-93DF-265DCC8E198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02" creationId="{C74E9218-4181-7A10-DAA3-2F0AFFF1F01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03" creationId="{426C97A0-08A8-6647-88BB-B9B58CD7651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04" creationId="{81B49651-1FC5-A256-3378-0B0B283DE9F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05" creationId="{E40A0E7F-43AF-A861-DCD2-2E8235806BB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06" creationId="{12B504F8-0390-1902-B62A-1F626954E41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07" creationId="{76ECEE58-5087-C657-FFB5-992E3A52A73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08" creationId="{11F6E752-554B-232B-BC75-1C1F9C6B00A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09" creationId="{276B88D8-E390-809D-B24B-4E66FDFC1F5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10" creationId="{9190E572-7C73-6974-6238-7E6BA754B8F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11" creationId="{27B0C6CD-D6BF-09A4-30C3-53625AD4491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12" creationId="{72E7E626-87CC-2C29-2A21-81C4FA18595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13" creationId="{A84D7F56-06B5-D202-50CE-10B75206F0B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14" creationId="{C58A9B95-904B-298A-9A7F-6CD79A1426B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15" creationId="{465DE56E-1382-53AE-5859-382076E01F1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16" creationId="{9E088B51-8B73-F492-0930-9D9623D7379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17" creationId="{C94437A7-89F4-1B30-F4C5-7A14D4E6D5D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18" creationId="{0EDAACB1-72C8-B431-9EA4-CEB09E08535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19" creationId="{B608B938-D91F-ADC2-6652-4588E7BA5F3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20" creationId="{B5E659F8-B5DE-27F8-0F4C-524BC7B9F5D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21" creationId="{1AD272A6-3989-4B56-3D3F-5194AE9383B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22" creationId="{12D10EAC-20C2-63D2-ED5B-CC525EB2A0A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23" creationId="{5DECBB9E-74FC-D50A-DEA5-F930247BC78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24" creationId="{F5090D07-5525-BA78-D259-2B639A07432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25" creationId="{FEBF4F57-31CE-0E92-EF7F-628E2C603A5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26" creationId="{292B55F0-F396-1A13-1BB2-F2C9AFF87CE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27" creationId="{7CD0F058-43D1-85C9-501A-96ADB239D44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28" creationId="{31E4DD54-39FC-95F6-9D4D-CAB801D8529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29" creationId="{42966FFE-1B75-377D-B950-BE2165F389C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30" creationId="{42C604C7-9B92-4C39-42AC-BCD6F11DFA1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31" creationId="{7F6FB6DF-0C2C-C774-2B8A-16A3DF619F8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32" creationId="{5F82E0D7-2D8D-C198-2833-E4B06848238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33" creationId="{F49C246C-7145-8CC8-802E-0BEF0D628FF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34" creationId="{45CF991D-8B53-A5AF-EBFB-0191C9A5C24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35" creationId="{9868F622-A884-7D32-C8DB-8E09A35456B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36" creationId="{8A32C87D-6EE6-9CB4-D579-E1D1D96A945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37" creationId="{5FD4CEC7-7F28-2247-DFA8-C0ED899BD91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38" creationId="{CED69F1D-B780-3E08-5B74-A29461C5F4C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39" creationId="{BD9EFA5F-D91C-49C7-FBAE-AF04530209E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40" creationId="{F1724541-3441-5BEC-C56C-949556A2863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41" creationId="{D37FF2F0-C41F-3EAB-AE12-2512F3AB4CA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42" creationId="{8B720140-EB74-5AB0-A4B2-52B8F99ACC2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43" creationId="{9B3A8755-7986-DF24-45B0-25E0E51492D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44" creationId="{0690A2FB-3296-BA27-7C95-B26F1715B85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45" creationId="{4A7036B9-70C7-6920-D51D-1DA30FBAE93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46" creationId="{AA19B382-165C-17F4-BC5C-674EBFBE15D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47" creationId="{5285A375-9B4E-2605-3628-F3D6D46C229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48" creationId="{E4D1653B-E1E4-7AC9-2375-653F0EB8238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49" creationId="{10982FD1-EF24-D098-87C5-84893D0F26A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50" creationId="{C28E0939-51A9-B6F3-F3B4-7218837CF4D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51" creationId="{649AB6A2-30C9-98C2-2909-A2FC26835D0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52" creationId="{31474878-4DEF-BCFD-3339-9E1E131021E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53" creationId="{C0902C5A-A039-B7C9-20AB-E7F67E5FA88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54" creationId="{E90554D9-C4E4-43A4-D5BF-02901192A34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55" creationId="{121FBEF3-D8B4-DDF6-7890-F791159153A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56" creationId="{F53047E0-4894-D7F7-BA59-3AE9E81D12E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57" creationId="{5FC3EDAC-B94D-8EB5-2481-178DBAB0515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58" creationId="{A9E18A46-9F86-07AB-97FA-4E9103BFE22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59" creationId="{FEBBE601-871A-249D-CFFA-2CBB0257E7E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60" creationId="{6B479B2F-7B49-25AC-778F-D6AABE5DD0B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61" creationId="{35FAB419-AB78-BD54-449A-4E4B104F45E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62" creationId="{3E0EE0B8-A803-7705-A911-0B78927DF61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63" creationId="{A6536818-2E44-8B5E-B38B-2598CB421D4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64" creationId="{593CC541-62DB-60F4-20BB-72C3E589754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65" creationId="{ED47A6FA-AEC9-8B01-D2EF-0193CA62E96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66" creationId="{D933AEDC-46CA-A976-021A-0CC06EACB77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67" creationId="{DF6B2E22-D8B4-8708-3155-2C13504D77B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68" creationId="{9DF6E2C4-852B-FB80-76F5-9E61264C512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69" creationId="{77AA138A-9A05-809C-9C99-442D38AF445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70" creationId="{2FF8F05B-67B9-655C-B3CB-94A97E66989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71" creationId="{3C959F08-D369-ACBF-D1F1-527A6D76509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72" creationId="{FCF938D2-C129-B737-756C-46B58D41833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73" creationId="{AA50936A-EE70-FCB0-9EEE-BE76EDCFA57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74" creationId="{435C15DC-9569-CDD8-7012-3597A91F8CA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75" creationId="{EA5AA9E8-6A8A-A10B-9284-EC5F5E8EFB3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76" creationId="{8D04B66D-C864-B188-89E1-7763A258656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77" creationId="{D9E39ACA-6AE9-5911-EA52-3EA5702297F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78" creationId="{D8B0CDCE-A759-9959-8262-F8A4E8CBF4B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79" creationId="{14A189D7-0BA6-2754-9DC6-D9682112773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80" creationId="{12777487-3552-C6DA-8A65-74BA4A6238A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81" creationId="{8A0344C6-2A07-5CD4-5735-D9A5D72A551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82" creationId="{FF920DA2-9BE2-A2B9-B42F-0AF7521B86D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83" creationId="{2C78C12A-A22F-56EF-ACF9-E2883CDBB96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84" creationId="{265128CE-4764-972F-66C4-884EFF20D7E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85" creationId="{F4C88DCC-E2CB-9F1A-E5F6-CDA9D93DE17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86" creationId="{75EE07B8-8698-4374-C712-0E6A0687C44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87" creationId="{60ADAEAF-D318-B495-82E0-B64B626174F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88" creationId="{1A64B4DE-0E74-0491-90C3-F8C95198BEE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89" creationId="{65DE5255-0F1D-1B96-B8DA-39958B3816B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90" creationId="{2DF18463-BE38-B0F9-C97B-8DC2DFAD341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91" creationId="{8CA479E5-70F4-4583-3D4F-E9FB08A56EC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92" creationId="{04F30D9D-CDEF-203A-0C6A-F3111325972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93" creationId="{B68C1264-3135-D24A-FAF0-F033DDCAAD4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94" creationId="{3063E363-CB36-8C0C-1A86-69F767CAA65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95" creationId="{94F834E4-B5B5-20EB-00B5-18F349B7535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96" creationId="{48B2F9DE-2532-D4FF-CDD3-8696801DB6A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97" creationId="{7BE5AE01-3A27-51FE-D486-A2FC19C0BF3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98" creationId="{5B8B279C-0A74-6319-C2D4-6D9889C1A9E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399" creationId="{72408265-CD1F-37F4-AA12-7EF79486AA9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00" creationId="{2BBB1626-EB90-C01C-CAB2-4F124CF6E9C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01" creationId="{83CC372E-707F-A2F1-1E8C-A161B79028A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02" creationId="{B050B09E-0838-10BB-15F3-50E75337295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03" creationId="{91767215-3BEE-3157-FC1B-87BB062EFE1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04" creationId="{57C02A8D-9675-985D-2CFB-C77663F2115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05" creationId="{B39F9D91-FAC1-A4BB-B8A8-72891D91662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06" creationId="{462DFE4C-D163-8F38-CA76-1FF4BB72F52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07" creationId="{1BF6A62D-2985-43D4-BD22-D67507DD967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08" creationId="{89BD9EF3-D3A3-79FF-E643-6311E163D48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09" creationId="{72FFC0BD-B8DA-DFB1-AE08-AA4C91F8937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10" creationId="{9E8D67E0-D882-C035-5DA6-4AF71D7998A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11" creationId="{565D39CE-5CB2-D556-52FD-D4FCC67E384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12" creationId="{252FCA97-5724-8362-171C-BDB4E4A4034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13" creationId="{0EC57A58-6C8A-507B-7089-AAC70FC71C5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14" creationId="{832C0091-E016-4F45-049B-1DAD261653A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15" creationId="{B89B8A1F-C36A-A32E-EBC8-7EF034E71FA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16" creationId="{11FE2F72-F953-86D2-4571-592E8EF20FF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17" creationId="{A476D56C-BE72-551C-1D6B-772F43A9946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18" creationId="{43F777DA-B6B4-56F1-4E46-19BF1A47B4A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19" creationId="{12919238-9A1F-FF92-5387-5528CEFECB3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20" creationId="{F5FD2F33-7207-30FA-4C38-BA6BFB09B3A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21" creationId="{B2A466ED-1EEA-5864-F2DF-AADC767E8CE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22" creationId="{5B18F2DD-1F40-F223-7027-183FB69DBE6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23" creationId="{6A66640D-A63C-7477-2C50-1BFC4A83A26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24" creationId="{E2BA1698-84B6-444D-91E5-04C8B9E77CB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25" creationId="{F8D82EC1-97DB-11B6-CBBE-2315D3E83C7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26" creationId="{92CD0AFF-93B7-6131-5222-2F74CA4773F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27" creationId="{71F9B2EB-FC91-100B-7F27-0C4DA8E3CAC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28" creationId="{BCDEE4B3-BFED-755C-DD50-DC618442642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29" creationId="{AC87E84F-B2FC-1ADB-EE88-16273C3A2F5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30" creationId="{EEE6F410-7386-50BE-0053-E29D5877508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31" creationId="{BD90919F-DBEA-4285-EC27-BDE4ACE5C25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32" creationId="{9A182B48-1EB4-BB9E-1972-B92AEF23F29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33" creationId="{C7F5C946-80EB-D201-516B-B40CDE27821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34" creationId="{A17BF626-DA33-D544-DEDB-9ACCD18AA30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35" creationId="{858079F1-F5E5-51EB-24EF-690D6138850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36" creationId="{1F7ADA68-1ACE-8C48-158E-47AD872E9EE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37" creationId="{5F9B0822-9D35-C92C-F8DF-8A25E2727B9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38" creationId="{96788FE2-4349-24D9-A18D-A50FD5E61C3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39" creationId="{602BCCEB-BE32-55B9-7B93-F5311E17DC1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40" creationId="{76BB605A-F69E-E1AF-3F26-C22ACF37E27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41" creationId="{DFD18802-3863-50B0-260C-502C1AE65ED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42" creationId="{9D1220C9-97F2-FB0A-8D39-46CD9F0265A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43" creationId="{B4AD0CDC-4D80-83ED-E960-7AA049D468B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44" creationId="{CFDC6D69-602F-7AD6-0297-377DEADD683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45" creationId="{E3A60837-455A-ADD5-4FF7-A54A6CB51AA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46" creationId="{D684ED38-2D84-4440-FA02-2B126C7BE19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47" creationId="{AAA61FA6-D3E8-82AE-1C16-534330E91E8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48" creationId="{4A509559-AEDE-1760-3D75-448F709BB19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49" creationId="{DD8A66B2-CC29-4DE3-A104-0EE3C0DFF5B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50" creationId="{095C4672-B5E1-80AF-94B4-B3153A338DD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51" creationId="{E634BE49-33A2-3DF6-3B41-F1377D7A1EE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52" creationId="{562CC16F-CB7E-D120-9F66-DC416F16FCA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53" creationId="{05893A76-8251-28D8-88AE-5EA31F2B99A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54" creationId="{88BAB7EE-0FB8-1AE2-42C1-F864CB2B0B6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55" creationId="{91363D17-7022-227D-4809-8CC3318E70F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56" creationId="{807BFD92-B869-ECBE-2158-668B5ED8358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57" creationId="{11BE692F-FEAD-925B-6B4B-91EA137EB67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58" creationId="{C726FF34-6B4D-0F68-D52C-7D919DE6705A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59" creationId="{845775FB-7497-6CF1-1EF5-8824B33AC8F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60" creationId="{1885A482-ADD4-C615-E5EB-13514C90EF8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61" creationId="{AEF74FEF-DFC4-979F-8904-112111E0A2C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62" creationId="{986554B8-81A8-9519-6B84-2DF8228CBFD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63" creationId="{C2DAA66F-BC7B-B402-473F-C349A3320C1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64" creationId="{5AFF19A4-75E5-09CA-16CA-FAB07E334B1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65" creationId="{6A10CC24-CA0A-5D1E-6B64-D741461B168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66" creationId="{5BF73A5F-B7CB-55AF-7DE7-A1A81551DA7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67" creationId="{4B2CA019-B255-5810-3EF3-79D6ABAF0FB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68" creationId="{A5D17298-AD08-F718-510B-5251325DDA2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69" creationId="{C9F52407-5237-0DAF-D84E-CE8F410030F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70" creationId="{7EB7AEAA-168C-AB7A-7AC8-F0EB65A1399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71" creationId="{F85B4E2F-EA27-5C8F-E996-A59AAEC7950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72" creationId="{80E5C8FE-6380-87D6-8CF8-DAC7D6E929B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73" creationId="{A6825203-B580-B42C-F939-CBF0D353665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74" creationId="{D228C3B5-82E7-C421-D07C-7CC64629404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75" creationId="{503A3BFE-756D-0384-9DD4-943EA0734CF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76" creationId="{6838FCA1-3E1B-0DD8-782C-7F977C0EE6F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77" creationId="{FDF60019-231B-0BA5-FC5B-2CA64949EA1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78" creationId="{25455085-CE60-85D9-1F33-819EBB990CF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79" creationId="{39C70452-DDED-A9CB-9B9E-5F3F867C0A3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80" creationId="{49EFDFF5-BBAF-AB11-3534-226BA30C230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81" creationId="{C655CB7D-18DA-43C2-38D0-F029CE92AED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82" creationId="{367EEDB6-7DE9-03F5-C095-88FC7242579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83" creationId="{C7D4255D-3531-6915-3798-F9EB7B000A2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84" creationId="{E48EF68D-CD7E-E009-27BD-0D1CE61B677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85" creationId="{7556CC13-9B2A-36EB-AE1B-88FC1C63607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86" creationId="{E4E048B6-3032-BA39-0E55-1A45AB4CFF3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87" creationId="{B1E33AA6-252A-1E19-203A-813BF251540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88" creationId="{9DB68D94-7289-CAE1-60BB-D408C6940E6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89" creationId="{8FC6B013-4396-2450-8760-AC334B897C19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90" creationId="{9B84DDA6-4773-649A-89FE-07C00ADD2FF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91" creationId="{E26DBD5F-DA0E-D9A1-2B7D-0539B7F1894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92" creationId="{489CEEB3-37B3-FC80-4AB0-F21613D39D0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93" creationId="{3F93CC2A-E570-CC94-706F-EA4C04FC6FE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94" creationId="{3832FF0E-354B-2487-4E29-D8D8B92AF72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95" creationId="{C8DD3264-986A-8819-FD91-8299B5ECED2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96" creationId="{009F3F25-FED4-3B29-FED1-16156180ADF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97" creationId="{0BB70FD4-80BE-54E1-6D79-75D08DB77BE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98" creationId="{82F30FD9-BE41-50C5-5B95-BECA2F06BF2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499" creationId="{E48167C5-262F-9AD7-E897-D813F5917C6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00" creationId="{398CA329-C285-12B3-4D32-0BCC5CA4866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01" creationId="{9C429B3A-6811-8D99-0C8D-B57C093F3C4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02" creationId="{6DD582E4-FD9B-3048-3BA3-63D9D389CAD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03" creationId="{56356AC8-431E-E3AB-E132-E8C829CC8E9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04" creationId="{35B5A7F4-6E5B-3C39-8045-D973A99821F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05" creationId="{04162E8F-8A55-B7A4-3EF5-69D6B57FBAA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06" creationId="{931C219B-B20A-697D-1FB0-46020BD98EB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07" creationId="{30932A27-05D5-2138-D5CB-6EC25B6C727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08" creationId="{BED192E5-C6E5-119B-42D3-8DAB0448C69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09" creationId="{044B3942-9577-9F43-948E-7D5E2EF5550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10" creationId="{60A38251-1DBE-B149-3015-B56D2FA07B4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11" creationId="{D58CBE37-7858-2B4C-C3AB-3EB105020D0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12" creationId="{503C676E-5269-2469-86D0-230060BBAF1E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13" creationId="{02F82507-38FA-009E-737C-5641CC0AE0D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14" creationId="{3EA1DCBC-D4A4-D5B5-BAC7-D9D2FEA340E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15" creationId="{07640B89-0F6A-0EAA-8F67-1FFE492EC95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16" creationId="{0F930994-7BEE-A141-3E21-B75780FEDEB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17" creationId="{0E9E915E-B7D1-C14B-A8AB-D8A53D0C6707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18" creationId="{D83071AA-6A44-B66A-F054-4D799C016895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19" creationId="{1B62F7BF-8787-2305-6700-E71CCFB9BA91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20" creationId="{DDF99567-0960-88D6-4777-27C3ECEB994D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21" creationId="{BD5EFFE2-BDE7-DFEE-40BC-433A690BB78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22" creationId="{A11B973A-8B93-CE9E-8336-6C2CA5F1E083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23" creationId="{51D15313-D182-465D-29E1-99774D2EAFB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24" creationId="{997E802C-B06F-9975-0980-7C3A26C3BDB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25" creationId="{B33977C3-271C-4752-8754-E66BD4492F6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26" creationId="{B26CFA38-EC83-672F-61CB-49071F6003E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27" creationId="{0EEAB7E0-5211-F16B-C8E4-BC5CD5D7C91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28" creationId="{36843F9E-B14B-CAFE-9BF8-C24FE880F548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29" creationId="{9EFA4355-6A9E-AB7C-F459-91FB3EF964EF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30" creationId="{94C0F372-E7B3-1888-CBBF-4D50208BF94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31" creationId="{29B163FF-430C-9A4F-DFAA-D79DB9EA0ECB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32" creationId="{5826B66D-B798-9A9C-B0EC-E4A801690A22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33" creationId="{CBB0ECE7-E8CE-9BE3-54F6-1B178DDE214C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34" creationId="{0416501A-76F3-2FF2-75C1-3BBE211A8330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35" creationId="{D005637B-AB7C-8CF6-58C1-D39714F8092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36" creationId="{661DB18F-1BEA-E766-106E-D961ADE0E2E6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37" creationId="{FB26DF06-29D3-3B81-B065-7250748675D4}"/>
          </ac:spMkLst>
        </pc:spChg>
        <pc:spChg chg="mod">
          <ac:chgData name="qaulan sakila" userId="b18b7923db98f7e1" providerId="LiveId" clId="{FA076623-D52D-4E06-81D7-7A6044D12FB1}" dt="2024-03-02T10:59:55.841" v="112" actId="2085"/>
          <ac:spMkLst>
            <pc:docMk/>
            <pc:sldMk cId="4070234439" sldId="259"/>
            <ac:spMk id="538" creationId="{76C4185E-9B4C-6E2C-4C36-54B95FDCACC6}"/>
          </ac:spMkLst>
        </pc:spChg>
        <pc:grpChg chg="mod">
          <ac:chgData name="qaulan sakila" userId="b18b7923db98f7e1" providerId="LiveId" clId="{FA076623-D52D-4E06-81D7-7A6044D12FB1}" dt="2024-03-02T10:59:23.552" v="110" actId="207"/>
          <ac:grpSpMkLst>
            <pc:docMk/>
            <pc:sldMk cId="4070234439" sldId="259"/>
            <ac:grpSpMk id="7" creationId="{9C858597-C24B-1C57-1708-8AFE0A3BD880}"/>
          </ac:grpSpMkLst>
        </pc:grpChg>
        <pc:grpChg chg="mod">
          <ac:chgData name="qaulan sakila" userId="b18b7923db98f7e1" providerId="LiveId" clId="{FA076623-D52D-4E06-81D7-7A6044D12FB1}" dt="2024-03-02T10:59:23.552" v="110" actId="207"/>
          <ac:grpSpMkLst>
            <pc:docMk/>
            <pc:sldMk cId="4070234439" sldId="259"/>
            <ac:grpSpMk id="30" creationId="{30C64B07-CE93-2EBA-4553-8E7F99E255B5}"/>
          </ac:grpSpMkLst>
        </pc:grpChg>
        <pc:grpChg chg="mod">
          <ac:chgData name="qaulan sakila" userId="b18b7923db98f7e1" providerId="LiveId" clId="{FA076623-D52D-4E06-81D7-7A6044D12FB1}" dt="2024-03-02T10:59:23.552" v="110" actId="207"/>
          <ac:grpSpMkLst>
            <pc:docMk/>
            <pc:sldMk cId="4070234439" sldId="259"/>
            <ac:grpSpMk id="31" creationId="{89F5D411-926E-3746-DA0C-9EBA95318CBE}"/>
          </ac:grpSpMkLst>
        </pc:grpChg>
        <pc:grpChg chg="mod">
          <ac:chgData name="qaulan sakila" userId="b18b7923db98f7e1" providerId="LiveId" clId="{FA076623-D52D-4E06-81D7-7A6044D12FB1}" dt="2024-03-02T10:59:23.552" v="110" actId="207"/>
          <ac:grpSpMkLst>
            <pc:docMk/>
            <pc:sldMk cId="4070234439" sldId="259"/>
            <ac:grpSpMk id="64" creationId="{8AD97B86-0EE1-75A7-AC0E-E7F65F295FF5}"/>
          </ac:grpSpMkLst>
        </pc:grpChg>
        <pc:grpChg chg="mod">
          <ac:chgData name="qaulan sakila" userId="b18b7923db98f7e1" providerId="LiveId" clId="{FA076623-D52D-4E06-81D7-7A6044D12FB1}" dt="2024-03-02T10:59:23.552" v="110" actId="207"/>
          <ac:grpSpMkLst>
            <pc:docMk/>
            <pc:sldMk cId="4070234439" sldId="259"/>
            <ac:grpSpMk id="65" creationId="{029B1AAC-869E-F304-72F1-2913E9426157}"/>
          </ac:grpSpMkLst>
        </pc:grpChg>
        <pc:grpChg chg="mod">
          <ac:chgData name="qaulan sakila" userId="b18b7923db98f7e1" providerId="LiveId" clId="{FA076623-D52D-4E06-81D7-7A6044D12FB1}" dt="2024-03-02T10:59:23.552" v="110" actId="207"/>
          <ac:grpSpMkLst>
            <pc:docMk/>
            <pc:sldMk cId="4070234439" sldId="259"/>
            <ac:grpSpMk id="66" creationId="{97908AE4-8A74-B017-8DEC-F6B4F24C963E}"/>
          </ac:grpSpMkLst>
        </pc:grpChg>
        <pc:grpChg chg="mod">
          <ac:chgData name="qaulan sakila" userId="b18b7923db98f7e1" providerId="LiveId" clId="{FA076623-D52D-4E06-81D7-7A6044D12FB1}" dt="2024-03-02T10:59:23.552" v="110" actId="207"/>
          <ac:grpSpMkLst>
            <pc:docMk/>
            <pc:sldMk cId="4070234439" sldId="259"/>
            <ac:grpSpMk id="67" creationId="{27B24488-0F93-8721-F6EF-D6DEDD8D6C84}"/>
          </ac:grpSpMkLst>
        </pc:grpChg>
        <pc:grpChg chg="mod">
          <ac:chgData name="qaulan sakila" userId="b18b7923db98f7e1" providerId="LiveId" clId="{FA076623-D52D-4E06-81D7-7A6044D12FB1}" dt="2024-03-02T10:59:23.552" v="110" actId="207"/>
          <ac:grpSpMkLst>
            <pc:docMk/>
            <pc:sldMk cId="4070234439" sldId="259"/>
            <ac:grpSpMk id="68" creationId="{7BD62B67-0971-F49D-1275-72BAC6A75857}"/>
          </ac:grpSpMkLst>
        </pc:grpChg>
      </pc:sldChg>
      <pc:sldChg chg="del">
        <pc:chgData name="qaulan sakila" userId="b18b7923db98f7e1" providerId="LiveId" clId="{FA076623-D52D-4E06-81D7-7A6044D12FB1}" dt="2024-03-02T10:48:32.099" v="11" actId="47"/>
        <pc:sldMkLst>
          <pc:docMk/>
          <pc:sldMk cId="676304674" sldId="260"/>
        </pc:sldMkLst>
      </pc:sldChg>
      <pc:sldChg chg="modSp add mod ord setBg">
        <pc:chgData name="qaulan sakila" userId="b18b7923db98f7e1" providerId="LiveId" clId="{FA076623-D52D-4E06-81D7-7A6044D12FB1}" dt="2024-03-02T22:46:57.741" v="1034" actId="14100"/>
        <pc:sldMkLst>
          <pc:docMk/>
          <pc:sldMk cId="3693902302" sldId="260"/>
        </pc:sldMkLst>
        <pc:spChg chg="mod">
          <ac:chgData name="qaulan sakila" userId="b18b7923db98f7e1" providerId="LiveId" clId="{FA076623-D52D-4E06-81D7-7A6044D12FB1}" dt="2024-03-02T22:34:28.558" v="882" actId="403"/>
          <ac:spMkLst>
            <pc:docMk/>
            <pc:sldMk cId="3693902302" sldId="260"/>
            <ac:spMk id="4" creationId="{25BD0249-B20B-2F31-6BFF-0E255D680987}"/>
          </ac:spMkLst>
        </pc:spChg>
        <pc:spChg chg="mod">
          <ac:chgData name="qaulan sakila" userId="b18b7923db98f7e1" providerId="LiveId" clId="{FA076623-D52D-4E06-81D7-7A6044D12FB1}" dt="2024-03-02T22:46:57.741" v="1034" actId="14100"/>
          <ac:spMkLst>
            <pc:docMk/>
            <pc:sldMk cId="3693902302" sldId="260"/>
            <ac:spMk id="6" creationId="{15B9F498-AFB2-1B5D-880F-E008178AF8B6}"/>
          </ac:spMkLst>
        </pc:spChg>
        <pc:spChg chg="mod">
          <ac:chgData name="qaulan sakila" userId="b18b7923db98f7e1" providerId="LiveId" clId="{FA076623-D52D-4E06-81D7-7A6044D12FB1}" dt="2024-03-02T11:01:53.682" v="125" actId="113"/>
          <ac:spMkLst>
            <pc:docMk/>
            <pc:sldMk cId="3693902302" sldId="260"/>
            <ac:spMk id="89" creationId="{E8A1734A-B1CB-32EF-F3BB-FCAF873DFA43}"/>
          </ac:spMkLst>
        </pc:spChg>
      </pc:sldChg>
      <pc:sldChg chg="delSp modSp mod ord">
        <pc:chgData name="qaulan sakila" userId="b18b7923db98f7e1" providerId="LiveId" clId="{FA076623-D52D-4E06-81D7-7A6044D12FB1}" dt="2024-03-02T12:17:02.298" v="416"/>
        <pc:sldMkLst>
          <pc:docMk/>
          <pc:sldMk cId="1763574817" sldId="261"/>
        </pc:sldMkLst>
        <pc:spChg chg="mod">
          <ac:chgData name="qaulan sakila" userId="b18b7923db98f7e1" providerId="LiveId" clId="{FA076623-D52D-4E06-81D7-7A6044D12FB1}" dt="2024-03-02T12:15:32.083" v="400" actId="20577"/>
          <ac:spMkLst>
            <pc:docMk/>
            <pc:sldMk cId="1763574817" sldId="261"/>
            <ac:spMk id="7" creationId="{3F9C22D2-90FE-454B-B032-E42C3279131E}"/>
          </ac:spMkLst>
        </pc:spChg>
        <pc:spChg chg="del">
          <ac:chgData name="qaulan sakila" userId="b18b7923db98f7e1" providerId="LiveId" clId="{FA076623-D52D-4E06-81D7-7A6044D12FB1}" dt="2024-03-02T12:15:36.633" v="401" actId="478"/>
          <ac:spMkLst>
            <pc:docMk/>
            <pc:sldMk cId="1763574817" sldId="261"/>
            <ac:spMk id="8" creationId="{C9A73559-491A-4614-A844-496762024E0B}"/>
          </ac:spMkLst>
        </pc:spChg>
        <pc:spChg chg="mod">
          <ac:chgData name="qaulan sakila" userId="b18b7923db98f7e1" providerId="LiveId" clId="{FA076623-D52D-4E06-81D7-7A6044D12FB1}" dt="2024-03-02T12:16:32.015" v="410" actId="20577"/>
          <ac:spMkLst>
            <pc:docMk/>
            <pc:sldMk cId="1763574817" sldId="261"/>
            <ac:spMk id="22" creationId="{8102AE25-AE6C-41A7-834C-CD89901260F8}"/>
          </ac:spMkLst>
        </pc:spChg>
        <pc:spChg chg="mod">
          <ac:chgData name="qaulan sakila" userId="b18b7923db98f7e1" providerId="LiveId" clId="{FA076623-D52D-4E06-81D7-7A6044D12FB1}" dt="2024-03-02T12:16:16.174" v="403"/>
          <ac:spMkLst>
            <pc:docMk/>
            <pc:sldMk cId="1763574817" sldId="261"/>
            <ac:spMk id="23" creationId="{AEBF2DC3-8204-435C-A332-8E1567BA1C88}"/>
          </ac:spMkLst>
        </pc:spChg>
        <pc:spChg chg="mod">
          <ac:chgData name="qaulan sakila" userId="b18b7923db98f7e1" providerId="LiveId" clId="{FA076623-D52D-4E06-81D7-7A6044D12FB1}" dt="2024-03-02T12:16:39.368" v="415" actId="20577"/>
          <ac:spMkLst>
            <pc:docMk/>
            <pc:sldMk cId="1763574817" sldId="261"/>
            <ac:spMk id="24" creationId="{2CFED16D-8F5D-4D29-A55B-5B4B7626FA4B}"/>
          </ac:spMkLst>
        </pc:spChg>
        <pc:spChg chg="mod">
          <ac:chgData name="qaulan sakila" userId="b18b7923db98f7e1" providerId="LiveId" clId="{FA076623-D52D-4E06-81D7-7A6044D12FB1}" dt="2024-03-02T12:17:02.298" v="416"/>
          <ac:spMkLst>
            <pc:docMk/>
            <pc:sldMk cId="1763574817" sldId="261"/>
            <ac:spMk id="25" creationId="{9197EFD4-6489-4164-AB76-879EBB281636}"/>
          </ac:spMkLst>
        </pc:spChg>
      </pc:sldChg>
      <pc:sldChg chg="modSp mod ord">
        <pc:chgData name="qaulan sakila" userId="b18b7923db98f7e1" providerId="LiveId" clId="{FA076623-D52D-4E06-81D7-7A6044D12FB1}" dt="2024-03-02T12:19:11.094" v="448" actId="20577"/>
        <pc:sldMkLst>
          <pc:docMk/>
          <pc:sldMk cId="877525400" sldId="262"/>
        </pc:sldMkLst>
        <pc:spChg chg="mod">
          <ac:chgData name="qaulan sakila" userId="b18b7923db98f7e1" providerId="LiveId" clId="{FA076623-D52D-4E06-81D7-7A6044D12FB1}" dt="2024-03-02T12:19:11.094" v="448" actId="20577"/>
          <ac:spMkLst>
            <pc:docMk/>
            <pc:sldMk cId="877525400" sldId="262"/>
            <ac:spMk id="7" creationId="{3F9C22D2-90FE-454B-B032-E42C3279131E}"/>
          </ac:spMkLst>
        </pc:spChg>
        <pc:spChg chg="mod">
          <ac:chgData name="qaulan sakila" userId="b18b7923db98f7e1" providerId="LiveId" clId="{FA076623-D52D-4E06-81D7-7A6044D12FB1}" dt="2024-03-02T12:18:58.190" v="434"/>
          <ac:spMkLst>
            <pc:docMk/>
            <pc:sldMk cId="877525400" sldId="262"/>
            <ac:spMk id="8" creationId="{C9A73559-491A-4614-A844-496762024E0B}"/>
          </ac:spMkLst>
        </pc:spChg>
      </pc:sldChg>
      <pc:sldChg chg="modSp mod ord">
        <pc:chgData name="qaulan sakila" userId="b18b7923db98f7e1" providerId="LiveId" clId="{FA076623-D52D-4E06-81D7-7A6044D12FB1}" dt="2024-03-02T12:25:42.710" v="501" actId="20577"/>
        <pc:sldMkLst>
          <pc:docMk/>
          <pc:sldMk cId="3257447938" sldId="263"/>
        </pc:sldMkLst>
        <pc:spChg chg="mod">
          <ac:chgData name="qaulan sakila" userId="b18b7923db98f7e1" providerId="LiveId" clId="{FA076623-D52D-4E06-81D7-7A6044D12FB1}" dt="2024-03-02T12:23:26.528" v="496"/>
          <ac:spMkLst>
            <pc:docMk/>
            <pc:sldMk cId="3257447938" sldId="263"/>
            <ac:spMk id="7" creationId="{3F9C22D2-90FE-454B-B032-E42C3279131E}"/>
          </ac:spMkLst>
        </pc:spChg>
        <pc:spChg chg="mod">
          <ac:chgData name="qaulan sakila" userId="b18b7923db98f7e1" providerId="LiveId" clId="{FA076623-D52D-4E06-81D7-7A6044D12FB1}" dt="2024-03-02T12:25:42.710" v="501" actId="20577"/>
          <ac:spMkLst>
            <pc:docMk/>
            <pc:sldMk cId="3257447938" sldId="263"/>
            <ac:spMk id="8" creationId="{C9A73559-491A-4614-A844-496762024E0B}"/>
          </ac:spMkLst>
        </pc:spChg>
      </pc:sldChg>
      <pc:sldChg chg="modSp mod ord">
        <pc:chgData name="qaulan sakila" userId="b18b7923db98f7e1" providerId="LiveId" clId="{FA076623-D52D-4E06-81D7-7A6044D12FB1}" dt="2024-03-02T12:34:23.698" v="538"/>
        <pc:sldMkLst>
          <pc:docMk/>
          <pc:sldMk cId="395270957" sldId="264"/>
        </pc:sldMkLst>
        <pc:spChg chg="mod">
          <ac:chgData name="qaulan sakila" userId="b18b7923db98f7e1" providerId="LiveId" clId="{FA076623-D52D-4E06-81D7-7A6044D12FB1}" dt="2024-03-02T12:32:43.408" v="535" actId="1037"/>
          <ac:spMkLst>
            <pc:docMk/>
            <pc:sldMk cId="395270957" sldId="264"/>
            <ac:spMk id="7" creationId="{3F9C22D2-90FE-454B-B032-E42C3279131E}"/>
          </ac:spMkLst>
        </pc:spChg>
        <pc:spChg chg="mod">
          <ac:chgData name="qaulan sakila" userId="b18b7923db98f7e1" providerId="LiveId" clId="{FA076623-D52D-4E06-81D7-7A6044D12FB1}" dt="2024-03-02T12:34:23.698" v="538"/>
          <ac:spMkLst>
            <pc:docMk/>
            <pc:sldMk cId="395270957" sldId="264"/>
            <ac:spMk id="8" creationId="{C9A73559-491A-4614-A844-496762024E0B}"/>
          </ac:spMkLst>
        </pc:spChg>
      </pc:sldChg>
      <pc:sldChg chg="modSp mod ord">
        <pc:chgData name="qaulan sakila" userId="b18b7923db98f7e1" providerId="LiveId" clId="{FA076623-D52D-4E06-81D7-7A6044D12FB1}" dt="2024-03-02T12:39:27.613" v="548" actId="20577"/>
        <pc:sldMkLst>
          <pc:docMk/>
          <pc:sldMk cId="3622429654" sldId="265"/>
        </pc:sldMkLst>
        <pc:spChg chg="mod">
          <ac:chgData name="qaulan sakila" userId="b18b7923db98f7e1" providerId="LiveId" clId="{FA076623-D52D-4E06-81D7-7A6044D12FB1}" dt="2024-03-02T12:35:21.261" v="540"/>
          <ac:spMkLst>
            <pc:docMk/>
            <pc:sldMk cId="3622429654" sldId="265"/>
            <ac:spMk id="7" creationId="{3F9C22D2-90FE-454B-B032-E42C3279131E}"/>
          </ac:spMkLst>
        </pc:spChg>
        <pc:spChg chg="mod">
          <ac:chgData name="qaulan sakila" userId="b18b7923db98f7e1" providerId="LiveId" clId="{FA076623-D52D-4E06-81D7-7A6044D12FB1}" dt="2024-03-02T12:39:27.613" v="548" actId="20577"/>
          <ac:spMkLst>
            <pc:docMk/>
            <pc:sldMk cId="3622429654" sldId="265"/>
            <ac:spMk id="8" creationId="{C9A73559-491A-4614-A844-496762024E0B}"/>
          </ac:spMkLst>
        </pc:spChg>
      </pc:sldChg>
      <pc:sldChg chg="addSp delSp modSp del mod">
        <pc:chgData name="qaulan sakila" userId="b18b7923db98f7e1" providerId="LiveId" clId="{FA076623-D52D-4E06-81D7-7A6044D12FB1}" dt="2024-03-02T23:40:08.780" v="1929" actId="47"/>
        <pc:sldMkLst>
          <pc:docMk/>
          <pc:sldMk cId="4210990816" sldId="266"/>
        </pc:sldMkLst>
        <pc:spChg chg="add mod">
          <ac:chgData name="qaulan sakila" userId="b18b7923db98f7e1" providerId="LiveId" clId="{FA076623-D52D-4E06-81D7-7A6044D12FB1}" dt="2024-03-02T23:05:05.326" v="1298" actId="1035"/>
          <ac:spMkLst>
            <pc:docMk/>
            <pc:sldMk cId="4210990816" sldId="266"/>
            <ac:spMk id="2" creationId="{DFA411EA-B7C5-E405-DE88-D7490DFEE45E}"/>
          </ac:spMkLst>
        </pc:spChg>
        <pc:spChg chg="add mod">
          <ac:chgData name="qaulan sakila" userId="b18b7923db98f7e1" providerId="LiveId" clId="{FA076623-D52D-4E06-81D7-7A6044D12FB1}" dt="2024-03-02T23:05:05.326" v="1298" actId="1035"/>
          <ac:spMkLst>
            <pc:docMk/>
            <pc:sldMk cId="4210990816" sldId="266"/>
            <ac:spMk id="3" creationId="{B5ED6231-8027-9A13-7067-660229C6CE5C}"/>
          </ac:spMkLst>
        </pc:spChg>
        <pc:spChg chg="mod">
          <ac:chgData name="qaulan sakila" userId="b18b7923db98f7e1" providerId="LiveId" clId="{FA076623-D52D-4E06-81D7-7A6044D12FB1}" dt="2024-03-02T23:30:47.200" v="1720" actId="207"/>
          <ac:spMkLst>
            <pc:docMk/>
            <pc:sldMk cId="4210990816" sldId="266"/>
            <ac:spMk id="7" creationId="{3F9C22D2-90FE-454B-B032-E42C3279131E}"/>
          </ac:spMkLst>
        </pc:spChg>
        <pc:spChg chg="mod">
          <ac:chgData name="qaulan sakila" userId="b18b7923db98f7e1" providerId="LiveId" clId="{FA076623-D52D-4E06-81D7-7A6044D12FB1}" dt="2024-03-02T23:05:05.326" v="1298" actId="1035"/>
          <ac:spMkLst>
            <pc:docMk/>
            <pc:sldMk cId="4210990816" sldId="266"/>
            <ac:spMk id="9" creationId="{67191FB7-1694-4872-81F9-FE7754259935}"/>
          </ac:spMkLst>
        </pc:spChg>
        <pc:spChg chg="del">
          <ac:chgData name="qaulan sakila" userId="b18b7923db98f7e1" providerId="LiveId" clId="{FA076623-D52D-4E06-81D7-7A6044D12FB1}" dt="2024-03-02T23:03:38.806" v="1226" actId="478"/>
          <ac:spMkLst>
            <pc:docMk/>
            <pc:sldMk cId="4210990816" sldId="266"/>
            <ac:spMk id="13" creationId="{F2D56B1B-7E08-4C01-B48A-B8D3DE028C84}"/>
          </ac:spMkLst>
        </pc:spChg>
        <pc:spChg chg="mod">
          <ac:chgData name="qaulan sakila" userId="b18b7923db98f7e1" providerId="LiveId" clId="{FA076623-D52D-4E06-81D7-7A6044D12FB1}" dt="2024-03-02T23:05:05.326" v="1298" actId="1035"/>
          <ac:spMkLst>
            <pc:docMk/>
            <pc:sldMk cId="4210990816" sldId="266"/>
            <ac:spMk id="24" creationId="{00A2A0F6-5FFE-4D0B-B57E-ECA81C5E7276}"/>
          </ac:spMkLst>
        </pc:spChg>
        <pc:spChg chg="del">
          <ac:chgData name="qaulan sakila" userId="b18b7923db98f7e1" providerId="LiveId" clId="{FA076623-D52D-4E06-81D7-7A6044D12FB1}" dt="2024-03-02T23:03:38.806" v="1226" actId="478"/>
          <ac:spMkLst>
            <pc:docMk/>
            <pc:sldMk cId="4210990816" sldId="266"/>
            <ac:spMk id="25" creationId="{4CECE2D3-5512-44EA-9616-221F509AEF91}"/>
          </ac:spMkLst>
        </pc:spChg>
        <pc:spChg chg="mod">
          <ac:chgData name="qaulan sakila" userId="b18b7923db98f7e1" providerId="LiveId" clId="{FA076623-D52D-4E06-81D7-7A6044D12FB1}" dt="2024-03-02T23:05:05.326" v="1298" actId="1035"/>
          <ac:spMkLst>
            <pc:docMk/>
            <pc:sldMk cId="4210990816" sldId="266"/>
            <ac:spMk id="31" creationId="{02E0606A-BD57-43DB-957E-84A00723B4D6}"/>
          </ac:spMkLst>
        </pc:spChg>
        <pc:spChg chg="mod">
          <ac:chgData name="qaulan sakila" userId="b18b7923db98f7e1" providerId="LiveId" clId="{FA076623-D52D-4E06-81D7-7A6044D12FB1}" dt="2024-03-02T23:05:05.326" v="1298" actId="1035"/>
          <ac:spMkLst>
            <pc:docMk/>
            <pc:sldMk cId="4210990816" sldId="266"/>
            <ac:spMk id="32" creationId="{03074DAD-AF35-4290-BE97-98097F56DC1F}"/>
          </ac:spMkLst>
        </pc:spChg>
        <pc:picChg chg="mod">
          <ac:chgData name="qaulan sakila" userId="b18b7923db98f7e1" providerId="LiveId" clId="{FA076623-D52D-4E06-81D7-7A6044D12FB1}" dt="2024-03-02T23:05:05.326" v="1298" actId="1035"/>
          <ac:picMkLst>
            <pc:docMk/>
            <pc:sldMk cId="4210990816" sldId="266"/>
            <ac:picMk id="33" creationId="{7868658D-F50E-41C9-AB27-6169A0691881}"/>
          </ac:picMkLst>
        </pc:picChg>
      </pc:sldChg>
      <pc:sldChg chg="addSp delSp modSp del mod">
        <pc:chgData name="qaulan sakila" userId="b18b7923db98f7e1" providerId="LiveId" clId="{FA076623-D52D-4E06-81D7-7A6044D12FB1}" dt="2024-03-02T23:40:11.029" v="1930" actId="47"/>
        <pc:sldMkLst>
          <pc:docMk/>
          <pc:sldMk cId="3505195652" sldId="267"/>
        </pc:sldMkLst>
        <pc:spChg chg="add mod">
          <ac:chgData name="qaulan sakila" userId="b18b7923db98f7e1" providerId="LiveId" clId="{FA076623-D52D-4E06-81D7-7A6044D12FB1}" dt="2024-03-02T23:05:32.290" v="1316" actId="1036"/>
          <ac:spMkLst>
            <pc:docMk/>
            <pc:sldMk cId="3505195652" sldId="267"/>
            <ac:spMk id="2" creationId="{69917E2E-A424-5514-1416-2D706B78D9DD}"/>
          </ac:spMkLst>
        </pc:spChg>
        <pc:spChg chg="add mod">
          <ac:chgData name="qaulan sakila" userId="b18b7923db98f7e1" providerId="LiveId" clId="{FA076623-D52D-4E06-81D7-7A6044D12FB1}" dt="2024-03-02T23:05:32.290" v="1316" actId="1036"/>
          <ac:spMkLst>
            <pc:docMk/>
            <pc:sldMk cId="3505195652" sldId="267"/>
            <ac:spMk id="3" creationId="{9059BC2A-9003-F1A1-07F7-51536314981F}"/>
          </ac:spMkLst>
        </pc:spChg>
        <pc:spChg chg="del">
          <ac:chgData name="qaulan sakila" userId="b18b7923db98f7e1" providerId="LiveId" clId="{FA076623-D52D-4E06-81D7-7A6044D12FB1}" dt="2024-03-02T23:04:04.724" v="1229" actId="478"/>
          <ac:spMkLst>
            <pc:docMk/>
            <pc:sldMk cId="3505195652" sldId="267"/>
            <ac:spMk id="7" creationId="{3F9C22D2-90FE-454B-B032-E42C3279131E}"/>
          </ac:spMkLst>
        </pc:spChg>
        <pc:spChg chg="mod">
          <ac:chgData name="qaulan sakila" userId="b18b7923db98f7e1" providerId="LiveId" clId="{FA076623-D52D-4E06-81D7-7A6044D12FB1}" dt="2024-03-02T23:05:32.290" v="1316" actId="1036"/>
          <ac:spMkLst>
            <pc:docMk/>
            <pc:sldMk cId="3505195652" sldId="267"/>
            <ac:spMk id="9" creationId="{67191FB7-1694-4872-81F9-FE7754259935}"/>
          </ac:spMkLst>
        </pc:spChg>
        <pc:spChg chg="mod">
          <ac:chgData name="qaulan sakila" userId="b18b7923db98f7e1" providerId="LiveId" clId="{FA076623-D52D-4E06-81D7-7A6044D12FB1}" dt="2024-03-02T23:05:32.290" v="1316" actId="1036"/>
          <ac:spMkLst>
            <pc:docMk/>
            <pc:sldMk cId="3505195652" sldId="267"/>
            <ac:spMk id="13" creationId="{F2D56B1B-7E08-4C01-B48A-B8D3DE028C84}"/>
          </ac:spMkLst>
        </pc:spChg>
        <pc:spChg chg="del">
          <ac:chgData name="qaulan sakila" userId="b18b7923db98f7e1" providerId="LiveId" clId="{FA076623-D52D-4E06-81D7-7A6044D12FB1}" dt="2024-03-02T23:04:04.724" v="1229" actId="478"/>
          <ac:spMkLst>
            <pc:docMk/>
            <pc:sldMk cId="3505195652" sldId="267"/>
            <ac:spMk id="24" creationId="{00A2A0F6-5FFE-4D0B-B57E-ECA81C5E7276}"/>
          </ac:spMkLst>
        </pc:spChg>
        <pc:spChg chg="mod">
          <ac:chgData name="qaulan sakila" userId="b18b7923db98f7e1" providerId="LiveId" clId="{FA076623-D52D-4E06-81D7-7A6044D12FB1}" dt="2024-03-02T23:07:19.120" v="1317"/>
          <ac:spMkLst>
            <pc:docMk/>
            <pc:sldMk cId="3505195652" sldId="267"/>
            <ac:spMk id="25" creationId="{4CECE2D3-5512-44EA-9616-221F509AEF91}"/>
          </ac:spMkLst>
        </pc:spChg>
        <pc:spChg chg="mod">
          <ac:chgData name="qaulan sakila" userId="b18b7923db98f7e1" providerId="LiveId" clId="{FA076623-D52D-4E06-81D7-7A6044D12FB1}" dt="2024-03-02T23:05:32.290" v="1316" actId="1036"/>
          <ac:spMkLst>
            <pc:docMk/>
            <pc:sldMk cId="3505195652" sldId="267"/>
            <ac:spMk id="31" creationId="{02E0606A-BD57-43DB-957E-84A00723B4D6}"/>
          </ac:spMkLst>
        </pc:spChg>
        <pc:spChg chg="mod">
          <ac:chgData name="qaulan sakila" userId="b18b7923db98f7e1" providerId="LiveId" clId="{FA076623-D52D-4E06-81D7-7A6044D12FB1}" dt="2024-03-02T23:05:32.290" v="1316" actId="1036"/>
          <ac:spMkLst>
            <pc:docMk/>
            <pc:sldMk cId="3505195652" sldId="267"/>
            <ac:spMk id="32" creationId="{03074DAD-AF35-4290-BE97-98097F56DC1F}"/>
          </ac:spMkLst>
        </pc:spChg>
        <pc:picChg chg="mod">
          <ac:chgData name="qaulan sakila" userId="b18b7923db98f7e1" providerId="LiveId" clId="{FA076623-D52D-4E06-81D7-7A6044D12FB1}" dt="2024-03-02T23:05:32.290" v="1316" actId="1036"/>
          <ac:picMkLst>
            <pc:docMk/>
            <pc:sldMk cId="3505195652" sldId="267"/>
            <ac:picMk id="33" creationId="{7868658D-F50E-41C9-AB27-6169A0691881}"/>
          </ac:picMkLst>
        </pc:picChg>
      </pc:sldChg>
      <pc:sldChg chg="add del setBg">
        <pc:chgData name="qaulan sakila" userId="b18b7923db98f7e1" providerId="LiveId" clId="{FA076623-D52D-4E06-81D7-7A6044D12FB1}" dt="2024-03-02T12:46:08.988" v="592"/>
        <pc:sldMkLst>
          <pc:docMk/>
          <pc:sldMk cId="402850347" sldId="268"/>
        </pc:sldMkLst>
      </pc:sldChg>
      <pc:sldChg chg="add del setBg">
        <pc:chgData name="qaulan sakila" userId="b18b7923db98f7e1" providerId="LiveId" clId="{FA076623-D52D-4E06-81D7-7A6044D12FB1}" dt="2024-03-02T12:47:31.733" v="613"/>
        <pc:sldMkLst>
          <pc:docMk/>
          <pc:sldMk cId="3454882339" sldId="268"/>
        </pc:sldMkLst>
      </pc:sldChg>
      <pc:sldChg chg="del">
        <pc:chgData name="qaulan sakila" userId="b18b7923db98f7e1" providerId="LiveId" clId="{FA076623-D52D-4E06-81D7-7A6044D12FB1}" dt="2024-03-02T12:03:55.244" v="360" actId="47"/>
        <pc:sldMkLst>
          <pc:docMk/>
          <pc:sldMk cId="3531388803" sldId="268"/>
        </pc:sldMkLst>
      </pc:sldChg>
      <pc:sldChg chg="del">
        <pc:chgData name="qaulan sakila" userId="b18b7923db98f7e1" providerId="LiveId" clId="{FA076623-D52D-4E06-81D7-7A6044D12FB1}" dt="2024-03-02T12:03:56.770" v="361" actId="47"/>
        <pc:sldMkLst>
          <pc:docMk/>
          <pc:sldMk cId="1724995771" sldId="269"/>
        </pc:sldMkLst>
      </pc:sldChg>
      <pc:sldChg chg="add del setBg">
        <pc:chgData name="qaulan sakila" userId="b18b7923db98f7e1" providerId="LiveId" clId="{FA076623-D52D-4E06-81D7-7A6044D12FB1}" dt="2024-03-02T12:47:31.480" v="612"/>
        <pc:sldMkLst>
          <pc:docMk/>
          <pc:sldMk cId="4073940992" sldId="269"/>
        </pc:sldMkLst>
      </pc:sldChg>
      <pc:sldChg chg="add del setBg">
        <pc:chgData name="qaulan sakila" userId="b18b7923db98f7e1" providerId="LiveId" clId="{FA076623-D52D-4E06-81D7-7A6044D12FB1}" dt="2024-03-02T12:46:07.023" v="589"/>
        <pc:sldMkLst>
          <pc:docMk/>
          <pc:sldMk cId="4136403710" sldId="269"/>
        </pc:sldMkLst>
      </pc:sldChg>
      <pc:sldChg chg="add del setBg">
        <pc:chgData name="qaulan sakila" userId="b18b7923db98f7e1" providerId="LiveId" clId="{FA076623-D52D-4E06-81D7-7A6044D12FB1}" dt="2024-03-02T12:47:31.260" v="611"/>
        <pc:sldMkLst>
          <pc:docMk/>
          <pc:sldMk cId="171889090" sldId="270"/>
        </pc:sldMkLst>
      </pc:sldChg>
      <pc:sldChg chg="add del setBg">
        <pc:chgData name="qaulan sakila" userId="b18b7923db98f7e1" providerId="LiveId" clId="{FA076623-D52D-4E06-81D7-7A6044D12FB1}" dt="2024-03-02T12:46:06.788" v="588"/>
        <pc:sldMkLst>
          <pc:docMk/>
          <pc:sldMk cId="3654644207" sldId="270"/>
        </pc:sldMkLst>
      </pc:sldChg>
      <pc:sldChg chg="del">
        <pc:chgData name="qaulan sakila" userId="b18b7923db98f7e1" providerId="LiveId" clId="{FA076623-D52D-4E06-81D7-7A6044D12FB1}" dt="2024-03-02T12:03:57.746" v="362" actId="47"/>
        <pc:sldMkLst>
          <pc:docMk/>
          <pc:sldMk cId="4009632791" sldId="270"/>
        </pc:sldMkLst>
      </pc:sldChg>
      <pc:sldChg chg="add del setBg">
        <pc:chgData name="qaulan sakila" userId="b18b7923db98f7e1" providerId="LiveId" clId="{FA076623-D52D-4E06-81D7-7A6044D12FB1}" dt="2024-03-02T12:46:06.521" v="587"/>
        <pc:sldMkLst>
          <pc:docMk/>
          <pc:sldMk cId="2839858464" sldId="271"/>
        </pc:sldMkLst>
      </pc:sldChg>
      <pc:sldChg chg="add del setBg">
        <pc:chgData name="qaulan sakila" userId="b18b7923db98f7e1" providerId="LiveId" clId="{FA076623-D52D-4E06-81D7-7A6044D12FB1}" dt="2024-03-02T12:47:31.025" v="610"/>
        <pc:sldMkLst>
          <pc:docMk/>
          <pc:sldMk cId="3084805403" sldId="271"/>
        </pc:sldMkLst>
      </pc:sldChg>
      <pc:sldChg chg="del">
        <pc:chgData name="qaulan sakila" userId="b18b7923db98f7e1" providerId="LiveId" clId="{FA076623-D52D-4E06-81D7-7A6044D12FB1}" dt="2024-03-02T12:04:40.158" v="369" actId="47"/>
        <pc:sldMkLst>
          <pc:docMk/>
          <pc:sldMk cId="3851985125" sldId="271"/>
        </pc:sldMkLst>
      </pc:sldChg>
      <pc:sldChg chg="del">
        <pc:chgData name="qaulan sakila" userId="b18b7923db98f7e1" providerId="LiveId" clId="{FA076623-D52D-4E06-81D7-7A6044D12FB1}" dt="2024-03-02T12:04:36.409" v="368" actId="47"/>
        <pc:sldMkLst>
          <pc:docMk/>
          <pc:sldMk cId="458837538" sldId="272"/>
        </pc:sldMkLst>
      </pc:sldChg>
      <pc:sldChg chg="add del setBg">
        <pc:chgData name="qaulan sakila" userId="b18b7923db98f7e1" providerId="LiveId" clId="{FA076623-D52D-4E06-81D7-7A6044D12FB1}" dt="2024-03-02T12:47:30.798" v="609"/>
        <pc:sldMkLst>
          <pc:docMk/>
          <pc:sldMk cId="2786257588" sldId="272"/>
        </pc:sldMkLst>
      </pc:sldChg>
      <pc:sldChg chg="add del setBg">
        <pc:chgData name="qaulan sakila" userId="b18b7923db98f7e1" providerId="LiveId" clId="{FA076623-D52D-4E06-81D7-7A6044D12FB1}" dt="2024-03-02T12:46:06.333" v="586"/>
        <pc:sldMkLst>
          <pc:docMk/>
          <pc:sldMk cId="2978850305" sldId="272"/>
        </pc:sldMkLst>
      </pc:sldChg>
      <pc:sldChg chg="add del setBg">
        <pc:chgData name="qaulan sakila" userId="b18b7923db98f7e1" providerId="LiveId" clId="{FA076623-D52D-4E06-81D7-7A6044D12FB1}" dt="2024-03-02T12:46:06.082" v="585"/>
        <pc:sldMkLst>
          <pc:docMk/>
          <pc:sldMk cId="1112913739" sldId="273"/>
        </pc:sldMkLst>
      </pc:sldChg>
      <pc:sldChg chg="del">
        <pc:chgData name="qaulan sakila" userId="b18b7923db98f7e1" providerId="LiveId" clId="{FA076623-D52D-4E06-81D7-7A6044D12FB1}" dt="2024-03-02T12:04:35.515" v="367" actId="47"/>
        <pc:sldMkLst>
          <pc:docMk/>
          <pc:sldMk cId="3023162489" sldId="273"/>
        </pc:sldMkLst>
      </pc:sldChg>
      <pc:sldChg chg="add del setBg">
        <pc:chgData name="qaulan sakila" userId="b18b7923db98f7e1" providerId="LiveId" clId="{FA076623-D52D-4E06-81D7-7A6044D12FB1}" dt="2024-03-02T12:47:30.570" v="608"/>
        <pc:sldMkLst>
          <pc:docMk/>
          <pc:sldMk cId="3504869022" sldId="273"/>
        </pc:sldMkLst>
      </pc:sldChg>
      <pc:sldChg chg="del">
        <pc:chgData name="qaulan sakila" userId="b18b7923db98f7e1" providerId="LiveId" clId="{FA076623-D52D-4E06-81D7-7A6044D12FB1}" dt="2024-03-02T12:04:34.444" v="366" actId="47"/>
        <pc:sldMkLst>
          <pc:docMk/>
          <pc:sldMk cId="805526503" sldId="274"/>
        </pc:sldMkLst>
      </pc:sldChg>
      <pc:sldChg chg="add del setBg">
        <pc:chgData name="qaulan sakila" userId="b18b7923db98f7e1" providerId="LiveId" clId="{FA076623-D52D-4E06-81D7-7A6044D12FB1}" dt="2024-03-02T12:47:30.350" v="607"/>
        <pc:sldMkLst>
          <pc:docMk/>
          <pc:sldMk cId="1939643345" sldId="274"/>
        </pc:sldMkLst>
      </pc:sldChg>
      <pc:sldChg chg="add del setBg">
        <pc:chgData name="qaulan sakila" userId="b18b7923db98f7e1" providerId="LiveId" clId="{FA076623-D52D-4E06-81D7-7A6044D12FB1}" dt="2024-03-02T12:46:05.814" v="584"/>
        <pc:sldMkLst>
          <pc:docMk/>
          <pc:sldMk cId="4255868866" sldId="274"/>
        </pc:sldMkLst>
      </pc:sldChg>
      <pc:sldChg chg="add del setBg">
        <pc:chgData name="qaulan sakila" userId="b18b7923db98f7e1" providerId="LiveId" clId="{FA076623-D52D-4E06-81D7-7A6044D12FB1}" dt="2024-03-02T12:47:29.488" v="606"/>
        <pc:sldMkLst>
          <pc:docMk/>
          <pc:sldMk cId="1132176759" sldId="275"/>
        </pc:sldMkLst>
      </pc:sldChg>
      <pc:sldChg chg="add del setBg">
        <pc:chgData name="qaulan sakila" userId="b18b7923db98f7e1" providerId="LiveId" clId="{FA076623-D52D-4E06-81D7-7A6044D12FB1}" dt="2024-03-02T12:46:05.515" v="583"/>
        <pc:sldMkLst>
          <pc:docMk/>
          <pc:sldMk cId="3392655965" sldId="275"/>
        </pc:sldMkLst>
      </pc:sldChg>
      <pc:sldChg chg="del">
        <pc:chgData name="qaulan sakila" userId="b18b7923db98f7e1" providerId="LiveId" clId="{FA076623-D52D-4E06-81D7-7A6044D12FB1}" dt="2024-03-02T12:04:22.170" v="365" actId="47"/>
        <pc:sldMkLst>
          <pc:docMk/>
          <pc:sldMk cId="4121558656" sldId="275"/>
        </pc:sldMkLst>
      </pc:sldChg>
      <pc:sldChg chg="del">
        <pc:chgData name="qaulan sakila" userId="b18b7923db98f7e1" providerId="LiveId" clId="{FA076623-D52D-4E06-81D7-7A6044D12FB1}" dt="2024-03-02T12:04:21.652" v="364" actId="47"/>
        <pc:sldMkLst>
          <pc:docMk/>
          <pc:sldMk cId="520196072" sldId="276"/>
        </pc:sldMkLst>
      </pc:sldChg>
      <pc:sldChg chg="del">
        <pc:chgData name="qaulan sakila" userId="b18b7923db98f7e1" providerId="LiveId" clId="{FA076623-D52D-4E06-81D7-7A6044D12FB1}" dt="2024-03-02T12:04:21.071" v="363" actId="47"/>
        <pc:sldMkLst>
          <pc:docMk/>
          <pc:sldMk cId="4249059035" sldId="277"/>
        </pc:sldMkLst>
      </pc:sldChg>
      <pc:sldChg chg="modSp add del">
        <pc:chgData name="qaulan sakila" userId="b18b7923db98f7e1" providerId="LiveId" clId="{FA076623-D52D-4E06-81D7-7A6044D12FB1}" dt="2024-03-02T22:29:07.474" v="848" actId="47"/>
        <pc:sldMkLst>
          <pc:docMk/>
          <pc:sldMk cId="3125060700" sldId="280"/>
        </pc:sldMkLst>
        <pc:graphicFrameChg chg="mod">
          <ac:chgData name="qaulan sakila" userId="b18b7923db98f7e1" providerId="LiveId" clId="{FA076623-D52D-4E06-81D7-7A6044D12FB1}" dt="2024-03-02T22:15:56.963" v="664" actId="13782"/>
          <ac:graphicFrameMkLst>
            <pc:docMk/>
            <pc:sldMk cId="3125060700" sldId="280"/>
            <ac:graphicFrameMk id="2" creationId="{F0749F0D-6656-5AD7-4543-FC71D2315793}"/>
          </ac:graphicFrameMkLst>
        </pc:graphicFrameChg>
      </pc:sldChg>
      <pc:sldChg chg="add del">
        <pc:chgData name="qaulan sakila" userId="b18b7923db98f7e1" providerId="LiveId" clId="{FA076623-D52D-4E06-81D7-7A6044D12FB1}" dt="2024-03-02T22:29:07.474" v="848" actId="47"/>
        <pc:sldMkLst>
          <pc:docMk/>
          <pc:sldMk cId="194023110" sldId="281"/>
        </pc:sldMkLst>
      </pc:sldChg>
      <pc:sldChg chg="del">
        <pc:chgData name="qaulan sakila" userId="b18b7923db98f7e1" providerId="LiveId" clId="{FA076623-D52D-4E06-81D7-7A6044D12FB1}" dt="2024-03-02T11:51:13.833" v="223" actId="47"/>
        <pc:sldMkLst>
          <pc:docMk/>
          <pc:sldMk cId="2399123301" sldId="281"/>
        </pc:sldMkLst>
      </pc:sldChg>
      <pc:sldChg chg="addSp modSp add mod ord setBg">
        <pc:chgData name="qaulan sakila" userId="b18b7923db98f7e1" providerId="LiveId" clId="{FA076623-D52D-4E06-81D7-7A6044D12FB1}" dt="2024-03-02T12:20:41.703" v="452"/>
        <pc:sldMkLst>
          <pc:docMk/>
          <pc:sldMk cId="3790738159" sldId="282"/>
        </pc:sldMkLst>
        <pc:spChg chg="mod">
          <ac:chgData name="qaulan sakila" userId="b18b7923db98f7e1" providerId="LiveId" clId="{FA076623-D52D-4E06-81D7-7A6044D12FB1}" dt="2024-03-02T10:54:30.071" v="52" actId="1076"/>
          <ac:spMkLst>
            <pc:docMk/>
            <pc:sldMk cId="3790738159" sldId="282"/>
            <ac:spMk id="3" creationId="{2937810B-B002-43E8-1D71-5A3444830D7C}"/>
          </ac:spMkLst>
        </pc:spChg>
        <pc:spChg chg="mod">
          <ac:chgData name="qaulan sakila" userId="b18b7923db98f7e1" providerId="LiveId" clId="{FA076623-D52D-4E06-81D7-7A6044D12FB1}" dt="2024-03-02T10:54:30.071" v="52" actId="1076"/>
          <ac:spMkLst>
            <pc:docMk/>
            <pc:sldMk cId="3790738159" sldId="282"/>
            <ac:spMk id="89" creationId="{E31CC437-9FEF-4324-170A-620BBA1C0DDD}"/>
          </ac:spMkLst>
        </pc:spChg>
        <pc:picChg chg="mod">
          <ac:chgData name="qaulan sakila" userId="b18b7923db98f7e1" providerId="LiveId" clId="{FA076623-D52D-4E06-81D7-7A6044D12FB1}" dt="2024-03-02T10:56:26.921" v="92" actId="207"/>
          <ac:picMkLst>
            <pc:docMk/>
            <pc:sldMk cId="3790738159" sldId="282"/>
            <ac:picMk id="20" creationId="{CE0FA59E-ED22-AB82-7CC1-FAE3B1DB2A70}"/>
          </ac:picMkLst>
        </pc:picChg>
        <pc:picChg chg="mod">
          <ac:chgData name="qaulan sakila" userId="b18b7923db98f7e1" providerId="LiveId" clId="{FA076623-D52D-4E06-81D7-7A6044D12FB1}" dt="2024-03-02T10:56:26.921" v="92" actId="207"/>
          <ac:picMkLst>
            <pc:docMk/>
            <pc:sldMk cId="3790738159" sldId="282"/>
            <ac:picMk id="21" creationId="{4322866D-05A3-9B75-560F-65621FC7E6ED}"/>
          </ac:picMkLst>
        </pc:picChg>
        <pc:picChg chg="mod">
          <ac:chgData name="qaulan sakila" userId="b18b7923db98f7e1" providerId="LiveId" clId="{FA076623-D52D-4E06-81D7-7A6044D12FB1}" dt="2024-03-02T10:56:26.921" v="92" actId="207"/>
          <ac:picMkLst>
            <pc:docMk/>
            <pc:sldMk cId="3790738159" sldId="282"/>
            <ac:picMk id="22" creationId="{6C2A112A-E77A-FA57-4A8D-D0C3E7C51CE5}"/>
          </ac:picMkLst>
        </pc:picChg>
        <pc:picChg chg="ord">
          <ac:chgData name="qaulan sakila" userId="b18b7923db98f7e1" providerId="LiveId" clId="{FA076623-D52D-4E06-81D7-7A6044D12FB1}" dt="2024-03-02T10:55:56.552" v="90" actId="166"/>
          <ac:picMkLst>
            <pc:docMk/>
            <pc:sldMk cId="3790738159" sldId="282"/>
            <ac:picMk id="71" creationId="{F2C02CD0-CC00-F82C-C84B-47353231D10F}"/>
          </ac:picMkLst>
        </pc:picChg>
        <pc:cxnChg chg="add mod ord">
          <ac:chgData name="qaulan sakila" userId="b18b7923db98f7e1" providerId="LiveId" clId="{FA076623-D52D-4E06-81D7-7A6044D12FB1}" dt="2024-03-02T10:56:01.260" v="91" actId="1036"/>
          <ac:cxnSpMkLst>
            <pc:docMk/>
            <pc:sldMk cId="3790738159" sldId="282"/>
            <ac:cxnSpMk id="2" creationId="{F617B518-F342-F6F3-FB7F-37EF1B1326C7}"/>
          </ac:cxnSpMkLst>
        </pc:cxnChg>
        <pc:cxnChg chg="mod">
          <ac:chgData name="qaulan sakila" userId="b18b7923db98f7e1" providerId="LiveId" clId="{FA076623-D52D-4E06-81D7-7A6044D12FB1}" dt="2024-03-02T10:54:30.071" v="52" actId="1076"/>
          <ac:cxnSpMkLst>
            <pc:docMk/>
            <pc:sldMk cId="3790738159" sldId="282"/>
            <ac:cxnSpMk id="5" creationId="{88D84D5A-8B4B-DDA0-19EF-097DEE0027CF}"/>
          </ac:cxnSpMkLst>
        </pc:cxnChg>
      </pc:sldChg>
      <pc:sldChg chg="modSp add mod ord setBg">
        <pc:chgData name="qaulan sakila" userId="b18b7923db98f7e1" providerId="LiveId" clId="{FA076623-D52D-4E06-81D7-7A6044D12FB1}" dt="2024-03-02T22:46:46.616" v="1032" actId="14100"/>
        <pc:sldMkLst>
          <pc:docMk/>
          <pc:sldMk cId="1187649910" sldId="283"/>
        </pc:sldMkLst>
        <pc:spChg chg="mod">
          <ac:chgData name="qaulan sakila" userId="b18b7923db98f7e1" providerId="LiveId" clId="{FA076623-D52D-4E06-81D7-7A6044D12FB1}" dt="2024-03-02T22:41:47.499" v="984" actId="20577"/>
          <ac:spMkLst>
            <pc:docMk/>
            <pc:sldMk cId="1187649910" sldId="283"/>
            <ac:spMk id="4" creationId="{6969DB95-0290-A1AB-F445-5A4FC89CAC23}"/>
          </ac:spMkLst>
        </pc:spChg>
        <pc:spChg chg="mod">
          <ac:chgData name="qaulan sakila" userId="b18b7923db98f7e1" providerId="LiveId" clId="{FA076623-D52D-4E06-81D7-7A6044D12FB1}" dt="2024-03-02T22:46:46.616" v="1032" actId="14100"/>
          <ac:spMkLst>
            <pc:docMk/>
            <pc:sldMk cId="1187649910" sldId="283"/>
            <ac:spMk id="6" creationId="{8F4A1253-FEF0-0565-7982-C2B7CB1169E9}"/>
          </ac:spMkLst>
        </pc:spChg>
        <pc:spChg chg="mod">
          <ac:chgData name="qaulan sakila" userId="b18b7923db98f7e1" providerId="LiveId" clId="{FA076623-D52D-4E06-81D7-7A6044D12FB1}" dt="2024-03-02T11:02:29.038" v="129" actId="207"/>
          <ac:spMkLst>
            <pc:docMk/>
            <pc:sldMk cId="1187649910" sldId="283"/>
            <ac:spMk id="89" creationId="{EF1BC4AB-F3E3-F701-502B-14223191272D}"/>
          </ac:spMkLst>
        </pc:spChg>
      </pc:sldChg>
      <pc:sldChg chg="modSp add del mod ord">
        <pc:chgData name="qaulan sakila" userId="b18b7923db98f7e1" providerId="LiveId" clId="{FA076623-D52D-4E06-81D7-7A6044D12FB1}" dt="2024-03-02T23:42:16.988" v="1933" actId="47"/>
        <pc:sldMkLst>
          <pc:docMk/>
          <pc:sldMk cId="2312852401" sldId="284"/>
        </pc:sldMkLst>
        <pc:spChg chg="mod">
          <ac:chgData name="qaulan sakila" userId="b18b7923db98f7e1" providerId="LiveId" clId="{FA076623-D52D-4E06-81D7-7A6044D12FB1}" dt="2024-03-02T11:08:29.153" v="170"/>
          <ac:spMkLst>
            <pc:docMk/>
            <pc:sldMk cId="2312852401" sldId="284"/>
            <ac:spMk id="70" creationId="{3574F849-5032-C5BD-6489-1EDD10B737F9}"/>
          </ac:spMkLst>
        </pc:spChg>
      </pc:sldChg>
      <pc:sldChg chg="modSp add mod ord">
        <pc:chgData name="qaulan sakila" userId="b18b7923db98f7e1" providerId="LiveId" clId="{FA076623-D52D-4E06-81D7-7A6044D12FB1}" dt="2024-03-02T12:08:21.316" v="375"/>
        <pc:sldMkLst>
          <pc:docMk/>
          <pc:sldMk cId="2094057427" sldId="285"/>
        </pc:sldMkLst>
        <pc:spChg chg="mod">
          <ac:chgData name="qaulan sakila" userId="b18b7923db98f7e1" providerId="LiveId" clId="{FA076623-D52D-4E06-81D7-7A6044D12FB1}" dt="2024-03-02T11:08:40.177" v="171"/>
          <ac:spMkLst>
            <pc:docMk/>
            <pc:sldMk cId="2094057427" sldId="285"/>
            <ac:spMk id="3" creationId="{AE3070F2-25CD-7BA6-7528-9EF90C01F2BA}"/>
          </ac:spMkLst>
        </pc:spChg>
        <pc:spChg chg="mod">
          <ac:chgData name="qaulan sakila" userId="b18b7923db98f7e1" providerId="LiveId" clId="{FA076623-D52D-4E06-81D7-7A6044D12FB1}" dt="2024-03-02T11:08:58.115" v="173"/>
          <ac:spMkLst>
            <pc:docMk/>
            <pc:sldMk cId="2094057427" sldId="285"/>
            <ac:spMk id="70" creationId="{E6278F8A-90FC-B928-6891-972778FCD697}"/>
          </ac:spMkLst>
        </pc:spChg>
      </pc:sldChg>
      <pc:sldChg chg="modSp add mod ord">
        <pc:chgData name="qaulan sakila" userId="b18b7923db98f7e1" providerId="LiveId" clId="{FA076623-D52D-4E06-81D7-7A6044D12FB1}" dt="2024-03-02T12:08:21.316" v="375"/>
        <pc:sldMkLst>
          <pc:docMk/>
          <pc:sldMk cId="1225408640" sldId="286"/>
        </pc:sldMkLst>
        <pc:spChg chg="mod">
          <ac:chgData name="qaulan sakila" userId="b18b7923db98f7e1" providerId="LiveId" clId="{FA076623-D52D-4E06-81D7-7A6044D12FB1}" dt="2024-03-02T11:09:12.296" v="175" actId="113"/>
          <ac:spMkLst>
            <pc:docMk/>
            <pc:sldMk cId="1225408640" sldId="286"/>
            <ac:spMk id="4" creationId="{E6824D04-2ED4-BA9A-1451-B0EE68250EF8}"/>
          </ac:spMkLst>
        </pc:spChg>
        <pc:spChg chg="mod">
          <ac:chgData name="qaulan sakila" userId="b18b7923db98f7e1" providerId="LiveId" clId="{FA076623-D52D-4E06-81D7-7A6044D12FB1}" dt="2024-03-02T11:09:12.296" v="175" actId="113"/>
          <ac:spMkLst>
            <pc:docMk/>
            <pc:sldMk cId="1225408640" sldId="286"/>
            <ac:spMk id="70" creationId="{4CD2EF34-70B7-44C2-6B8D-203D222CBA3B}"/>
          </ac:spMkLst>
        </pc:spChg>
      </pc:sldChg>
      <pc:sldChg chg="modSp add mod ord">
        <pc:chgData name="qaulan sakila" userId="b18b7923db98f7e1" providerId="LiveId" clId="{FA076623-D52D-4E06-81D7-7A6044D12FB1}" dt="2024-03-02T12:08:21.316" v="375"/>
        <pc:sldMkLst>
          <pc:docMk/>
          <pc:sldMk cId="2706339655" sldId="287"/>
        </pc:sldMkLst>
        <pc:spChg chg="mod">
          <ac:chgData name="qaulan sakila" userId="b18b7923db98f7e1" providerId="LiveId" clId="{FA076623-D52D-4E06-81D7-7A6044D12FB1}" dt="2024-03-02T11:09:22.861" v="177" actId="113"/>
          <ac:spMkLst>
            <pc:docMk/>
            <pc:sldMk cId="2706339655" sldId="287"/>
            <ac:spMk id="4" creationId="{FCE9A1AE-8152-52C5-C5AE-17B05AD5BA8B}"/>
          </ac:spMkLst>
        </pc:spChg>
        <pc:spChg chg="mod">
          <ac:chgData name="qaulan sakila" userId="b18b7923db98f7e1" providerId="LiveId" clId="{FA076623-D52D-4E06-81D7-7A6044D12FB1}" dt="2024-03-02T11:09:22.861" v="177" actId="113"/>
          <ac:spMkLst>
            <pc:docMk/>
            <pc:sldMk cId="2706339655" sldId="287"/>
            <ac:spMk id="70" creationId="{3AABC8A5-762E-385F-7F3B-35B1D71F1501}"/>
          </ac:spMkLst>
        </pc:spChg>
      </pc:sldChg>
      <pc:sldChg chg="modSp add mod ord">
        <pc:chgData name="qaulan sakila" userId="b18b7923db98f7e1" providerId="LiveId" clId="{FA076623-D52D-4E06-81D7-7A6044D12FB1}" dt="2024-03-02T12:08:21.316" v="375"/>
        <pc:sldMkLst>
          <pc:docMk/>
          <pc:sldMk cId="1333999288" sldId="288"/>
        </pc:sldMkLst>
        <pc:spChg chg="mod">
          <ac:chgData name="qaulan sakila" userId="b18b7923db98f7e1" providerId="LiveId" clId="{FA076623-D52D-4E06-81D7-7A6044D12FB1}" dt="2024-03-02T11:09:42.547" v="181" actId="113"/>
          <ac:spMkLst>
            <pc:docMk/>
            <pc:sldMk cId="1333999288" sldId="288"/>
            <ac:spMk id="4" creationId="{3C728BFE-4CB8-9381-3823-E83513B72385}"/>
          </ac:spMkLst>
        </pc:spChg>
        <pc:spChg chg="mod">
          <ac:chgData name="qaulan sakila" userId="b18b7923db98f7e1" providerId="LiveId" clId="{FA076623-D52D-4E06-81D7-7A6044D12FB1}" dt="2024-03-02T11:09:42.547" v="181" actId="113"/>
          <ac:spMkLst>
            <pc:docMk/>
            <pc:sldMk cId="1333999288" sldId="288"/>
            <ac:spMk id="70" creationId="{72FF3C98-BA86-02F0-5B96-4EDE32AFE93C}"/>
          </ac:spMkLst>
        </pc:spChg>
      </pc:sldChg>
      <pc:sldChg chg="modSp add mod ord">
        <pc:chgData name="qaulan sakila" userId="b18b7923db98f7e1" providerId="LiveId" clId="{FA076623-D52D-4E06-81D7-7A6044D12FB1}" dt="2024-03-02T12:08:21.316" v="375"/>
        <pc:sldMkLst>
          <pc:docMk/>
          <pc:sldMk cId="3368662596" sldId="289"/>
        </pc:sldMkLst>
        <pc:spChg chg="mod">
          <ac:chgData name="qaulan sakila" userId="b18b7923db98f7e1" providerId="LiveId" clId="{FA076623-D52D-4E06-81D7-7A6044D12FB1}" dt="2024-03-02T11:10:00.509" v="184" actId="113"/>
          <ac:spMkLst>
            <pc:docMk/>
            <pc:sldMk cId="3368662596" sldId="289"/>
            <ac:spMk id="4" creationId="{97BFDC08-80DB-D567-3CD1-1F2DDB2D60F3}"/>
          </ac:spMkLst>
        </pc:spChg>
        <pc:spChg chg="mod">
          <ac:chgData name="qaulan sakila" userId="b18b7923db98f7e1" providerId="LiveId" clId="{FA076623-D52D-4E06-81D7-7A6044D12FB1}" dt="2024-03-02T11:10:00.509" v="184" actId="113"/>
          <ac:spMkLst>
            <pc:docMk/>
            <pc:sldMk cId="3368662596" sldId="289"/>
            <ac:spMk id="70" creationId="{E6ACBEB6-06BF-A35B-A191-3157D713C98A}"/>
          </ac:spMkLst>
        </pc:spChg>
      </pc:sldChg>
      <pc:sldChg chg="modSp add del mod ord">
        <pc:chgData name="qaulan sakila" userId="b18b7923db98f7e1" providerId="LiveId" clId="{FA076623-D52D-4E06-81D7-7A6044D12FB1}" dt="2024-03-02T23:42:22.270" v="1934" actId="47"/>
        <pc:sldMkLst>
          <pc:docMk/>
          <pc:sldMk cId="1270222231" sldId="290"/>
        </pc:sldMkLst>
        <pc:spChg chg="mod">
          <ac:chgData name="qaulan sakila" userId="b18b7923db98f7e1" providerId="LiveId" clId="{FA076623-D52D-4E06-81D7-7A6044D12FB1}" dt="2024-03-02T11:10:07.349" v="186" actId="113"/>
          <ac:spMkLst>
            <pc:docMk/>
            <pc:sldMk cId="1270222231" sldId="290"/>
            <ac:spMk id="70" creationId="{A4609E53-127E-F7C4-E7EC-2D576BA460FB}"/>
          </ac:spMkLst>
        </pc:spChg>
      </pc:sldChg>
      <pc:sldChg chg="add ord modAnim">
        <pc:chgData name="qaulan sakila" userId="b18b7923db98f7e1" providerId="LiveId" clId="{FA076623-D52D-4E06-81D7-7A6044D12FB1}" dt="2024-03-02T11:59:07.085" v="355"/>
        <pc:sldMkLst>
          <pc:docMk/>
          <pc:sldMk cId="3953049327" sldId="365"/>
        </pc:sldMkLst>
      </pc:sldChg>
      <pc:sldChg chg="add del">
        <pc:chgData name="qaulan sakila" userId="b18b7923db98f7e1" providerId="LiveId" clId="{FA076623-D52D-4E06-81D7-7A6044D12FB1}" dt="2024-03-02T22:30:12.350" v="856" actId="47"/>
        <pc:sldMkLst>
          <pc:docMk/>
          <pc:sldMk cId="1241881591" sldId="366"/>
        </pc:sldMkLst>
      </pc:sldChg>
      <pc:sldChg chg="add del">
        <pc:chgData name="qaulan sakila" userId="b18b7923db98f7e1" providerId="LiveId" clId="{FA076623-D52D-4E06-81D7-7A6044D12FB1}" dt="2024-03-02T22:29:07.474" v="848" actId="47"/>
        <pc:sldMkLst>
          <pc:docMk/>
          <pc:sldMk cId="2040155906" sldId="366"/>
        </pc:sldMkLst>
      </pc:sldChg>
      <pc:sldChg chg="add del">
        <pc:chgData name="qaulan sakila" userId="b18b7923db98f7e1" providerId="LiveId" clId="{FA076623-D52D-4E06-81D7-7A6044D12FB1}" dt="2024-03-02T22:29:07.474" v="848" actId="47"/>
        <pc:sldMkLst>
          <pc:docMk/>
          <pc:sldMk cId="4023838509" sldId="367"/>
        </pc:sldMkLst>
      </pc:sldChg>
      <pc:sldChg chg="addSp delSp modSp add mod ord modTransition">
        <pc:chgData name="qaulan sakila" userId="b18b7923db98f7e1" providerId="LiveId" clId="{FA076623-D52D-4E06-81D7-7A6044D12FB1}" dt="2024-03-02T23:13:05.314" v="1382" actId="208"/>
        <pc:sldMkLst>
          <pc:docMk/>
          <pc:sldMk cId="1701477506" sldId="368"/>
        </pc:sldMkLst>
        <pc:spChg chg="mod">
          <ac:chgData name="qaulan sakila" userId="b18b7923db98f7e1" providerId="LiveId" clId="{FA076623-D52D-4E06-81D7-7A6044D12FB1}" dt="2024-03-02T12:40:49.911" v="566" actId="1036"/>
          <ac:spMkLst>
            <pc:docMk/>
            <pc:sldMk cId="1701477506" sldId="368"/>
            <ac:spMk id="7" creationId="{FF13200C-F3F4-E7B2-E124-F862AB238352}"/>
          </ac:spMkLst>
        </pc:spChg>
        <pc:spChg chg="mod">
          <ac:chgData name="qaulan sakila" userId="b18b7923db98f7e1" providerId="LiveId" clId="{FA076623-D52D-4E06-81D7-7A6044D12FB1}" dt="2024-03-02T12:41:13.670" v="568" actId="20577"/>
          <ac:spMkLst>
            <pc:docMk/>
            <pc:sldMk cId="1701477506" sldId="368"/>
            <ac:spMk id="8" creationId="{EC13FB46-B136-BA44-5FB1-514DBEE9FC14}"/>
          </ac:spMkLst>
        </pc:spChg>
        <pc:spChg chg="mod">
          <ac:chgData name="qaulan sakila" userId="b18b7923db98f7e1" providerId="LiveId" clId="{FA076623-D52D-4E06-81D7-7A6044D12FB1}" dt="2024-03-02T12:30:52.139" v="512" actId="207"/>
          <ac:spMkLst>
            <pc:docMk/>
            <pc:sldMk cId="1701477506" sldId="368"/>
            <ac:spMk id="9" creationId="{32452699-2FF8-E4AB-7A72-7647108E7288}"/>
          </ac:spMkLst>
        </pc:spChg>
        <pc:spChg chg="mod">
          <ac:chgData name="qaulan sakila" userId="b18b7923db98f7e1" providerId="LiveId" clId="{FA076623-D52D-4E06-81D7-7A6044D12FB1}" dt="2024-03-02T12:31:47.310" v="516" actId="20577"/>
          <ac:spMkLst>
            <pc:docMk/>
            <pc:sldMk cId="1701477506" sldId="368"/>
            <ac:spMk id="17" creationId="{14D1DCD3-B3E6-E2A2-2D7A-6D4483699904}"/>
          </ac:spMkLst>
        </pc:spChg>
        <pc:spChg chg="mod">
          <ac:chgData name="qaulan sakila" userId="b18b7923db98f7e1" providerId="LiveId" clId="{FA076623-D52D-4E06-81D7-7A6044D12FB1}" dt="2024-03-02T12:30:19.563" v="509" actId="207"/>
          <ac:spMkLst>
            <pc:docMk/>
            <pc:sldMk cId="1701477506" sldId="368"/>
            <ac:spMk id="19" creationId="{E4BB047C-2BEA-2D5E-D6B5-009B6717F9DB}"/>
          </ac:spMkLst>
        </pc:spChg>
        <pc:spChg chg="mod">
          <ac:chgData name="qaulan sakila" userId="b18b7923db98f7e1" providerId="LiveId" clId="{FA076623-D52D-4E06-81D7-7A6044D12FB1}" dt="2024-03-02T12:31:12.299" v="513" actId="207"/>
          <ac:spMkLst>
            <pc:docMk/>
            <pc:sldMk cId="1701477506" sldId="368"/>
            <ac:spMk id="20" creationId="{AA8311CE-E206-F145-14FD-2784227AB7A9}"/>
          </ac:spMkLst>
        </pc:spChg>
        <pc:picChg chg="add mod">
          <ac:chgData name="qaulan sakila" userId="b18b7923db98f7e1" providerId="LiveId" clId="{FA076623-D52D-4E06-81D7-7A6044D12FB1}" dt="2024-03-02T23:13:05.314" v="1382" actId="208"/>
          <ac:picMkLst>
            <pc:docMk/>
            <pc:sldMk cId="1701477506" sldId="368"/>
            <ac:picMk id="3" creationId="{BB811A5B-9683-ACD0-4BFF-CD4C499A8F01}"/>
          </ac:picMkLst>
        </pc:picChg>
        <pc:picChg chg="del mod">
          <ac:chgData name="qaulan sakila" userId="b18b7923db98f7e1" providerId="LiveId" clId="{FA076623-D52D-4E06-81D7-7A6044D12FB1}" dt="2024-03-02T23:12:41.083" v="1351" actId="478"/>
          <ac:picMkLst>
            <pc:docMk/>
            <pc:sldMk cId="1701477506" sldId="368"/>
            <ac:picMk id="15" creationId="{864FEA3F-3805-2439-20C0-EEFAC7188636}"/>
          </ac:picMkLst>
        </pc:picChg>
      </pc:sldChg>
      <pc:sldChg chg="add del setBg">
        <pc:chgData name="qaulan sakila" userId="b18b7923db98f7e1" providerId="LiveId" clId="{FA076623-D52D-4E06-81D7-7A6044D12FB1}" dt="2024-03-02T12:46:09.615" v="593"/>
        <pc:sldMkLst>
          <pc:docMk/>
          <pc:sldMk cId="527123883" sldId="369"/>
        </pc:sldMkLst>
      </pc:sldChg>
      <pc:sldChg chg="modSp mod">
        <pc:chgData name="qaulan sakila" userId="b18b7923db98f7e1" providerId="LiveId" clId="{FA076623-D52D-4E06-81D7-7A6044D12FB1}" dt="2024-03-02T22:47:06.217" v="1036" actId="14100"/>
        <pc:sldMkLst>
          <pc:docMk/>
          <pc:sldMk cId="1320284797" sldId="369"/>
        </pc:sldMkLst>
        <pc:spChg chg="mod">
          <ac:chgData name="qaulan sakila" userId="b18b7923db98f7e1" providerId="LiveId" clId="{FA076623-D52D-4E06-81D7-7A6044D12FB1}" dt="2024-03-02T22:47:06.217" v="1036" actId="14100"/>
          <ac:spMkLst>
            <pc:docMk/>
            <pc:sldMk cId="1320284797" sldId="369"/>
            <ac:spMk id="6" creationId="{6AA0E696-5BDD-2C1B-DCC9-808233D44FB9}"/>
          </ac:spMkLst>
        </pc:spChg>
      </pc:sldChg>
      <pc:sldChg chg="addSp delSp modSp add del mod ord setBg">
        <pc:chgData name="qaulan sakila" userId="b18b7923db98f7e1" providerId="LiveId" clId="{FA076623-D52D-4E06-81D7-7A6044D12FB1}" dt="2024-03-02T12:47:33.665" v="615"/>
        <pc:sldMkLst>
          <pc:docMk/>
          <pc:sldMk cId="1930124338" sldId="369"/>
        </pc:sldMkLst>
        <pc:graphicFrameChg chg="add del modGraphic">
          <ac:chgData name="qaulan sakila" userId="b18b7923db98f7e1" providerId="LiveId" clId="{FA076623-D52D-4E06-81D7-7A6044D12FB1}" dt="2024-03-02T12:47:28.993" v="605" actId="27309"/>
          <ac:graphicFrameMkLst>
            <pc:docMk/>
            <pc:sldMk cId="1930124338" sldId="369"/>
            <ac:graphicFrameMk id="3" creationId="{8DE75F62-BE03-242C-EBDB-0CED87061810}"/>
          </ac:graphicFrameMkLst>
        </pc:graphicFrameChg>
      </pc:sldChg>
      <pc:sldChg chg="modSp add del mod ord setBg">
        <pc:chgData name="qaulan sakila" userId="b18b7923db98f7e1" providerId="LiveId" clId="{FA076623-D52D-4E06-81D7-7A6044D12FB1}" dt="2024-03-02T12:54:34.928" v="656" actId="47"/>
        <pc:sldMkLst>
          <pc:docMk/>
          <pc:sldMk cId="3265123442" sldId="369"/>
        </pc:sldMkLst>
        <pc:spChg chg="mod">
          <ac:chgData name="qaulan sakila" userId="b18b7923db98f7e1" providerId="LiveId" clId="{FA076623-D52D-4E06-81D7-7A6044D12FB1}" dt="2024-03-02T12:54:24.570" v="643" actId="207"/>
          <ac:spMkLst>
            <pc:docMk/>
            <pc:sldMk cId="3265123442" sldId="369"/>
            <ac:spMk id="115" creationId="{56C71D69-3D22-5491-5171-DD9AE4F1E1B3}"/>
          </ac:spMkLst>
        </pc:spChg>
        <pc:spChg chg="mod">
          <ac:chgData name="qaulan sakila" userId="b18b7923db98f7e1" providerId="LiveId" clId="{FA076623-D52D-4E06-81D7-7A6044D12FB1}" dt="2024-03-02T12:54:24.570" v="643" actId="207"/>
          <ac:spMkLst>
            <pc:docMk/>
            <pc:sldMk cId="3265123442" sldId="369"/>
            <ac:spMk id="116" creationId="{D9E53494-4DA5-A9DC-0BC1-EF93564DC0EF}"/>
          </ac:spMkLst>
        </pc:spChg>
        <pc:spChg chg="mod">
          <ac:chgData name="qaulan sakila" userId="b18b7923db98f7e1" providerId="LiveId" clId="{FA076623-D52D-4E06-81D7-7A6044D12FB1}" dt="2024-03-02T12:54:24.570" v="643" actId="207"/>
          <ac:spMkLst>
            <pc:docMk/>
            <pc:sldMk cId="3265123442" sldId="369"/>
            <ac:spMk id="117" creationId="{9C97BB72-262B-11E7-220B-D7E5D86B9431}"/>
          </ac:spMkLst>
        </pc:spChg>
        <pc:spChg chg="mod">
          <ac:chgData name="qaulan sakila" userId="b18b7923db98f7e1" providerId="LiveId" clId="{FA076623-D52D-4E06-81D7-7A6044D12FB1}" dt="2024-03-02T12:54:25.343" v="644" actId="207"/>
          <ac:spMkLst>
            <pc:docMk/>
            <pc:sldMk cId="3265123442" sldId="369"/>
            <ac:spMk id="119" creationId="{5647F7E6-6599-564A-F3C3-176DE46C6EFA}"/>
          </ac:spMkLst>
        </pc:spChg>
        <pc:spChg chg="mod">
          <ac:chgData name="qaulan sakila" userId="b18b7923db98f7e1" providerId="LiveId" clId="{FA076623-D52D-4E06-81D7-7A6044D12FB1}" dt="2024-03-02T12:54:25.343" v="644" actId="207"/>
          <ac:spMkLst>
            <pc:docMk/>
            <pc:sldMk cId="3265123442" sldId="369"/>
            <ac:spMk id="120" creationId="{71C15210-3A19-F088-2861-70709C212E88}"/>
          </ac:spMkLst>
        </pc:spChg>
        <pc:spChg chg="mod">
          <ac:chgData name="qaulan sakila" userId="b18b7923db98f7e1" providerId="LiveId" clId="{FA076623-D52D-4E06-81D7-7A6044D12FB1}" dt="2024-03-02T12:54:25.343" v="644" actId="207"/>
          <ac:spMkLst>
            <pc:docMk/>
            <pc:sldMk cId="3265123442" sldId="369"/>
            <ac:spMk id="121" creationId="{F6A86BCF-0EB7-4F4E-4D6F-81F7477453A6}"/>
          </ac:spMkLst>
        </pc:spChg>
        <pc:grpChg chg="mod">
          <ac:chgData name="qaulan sakila" userId="b18b7923db98f7e1" providerId="LiveId" clId="{FA076623-D52D-4E06-81D7-7A6044D12FB1}" dt="2024-03-02T12:52:58.100" v="641" actId="207"/>
          <ac:grpSpMkLst>
            <pc:docMk/>
            <pc:sldMk cId="3265123442" sldId="369"/>
            <ac:grpSpMk id="21" creationId="{B937B24B-078C-5AE3-6B65-9C3FC35239A9}"/>
          </ac:grpSpMkLst>
        </pc:grpChg>
        <pc:grpChg chg="mod">
          <ac:chgData name="qaulan sakila" userId="b18b7923db98f7e1" providerId="LiveId" clId="{FA076623-D52D-4E06-81D7-7A6044D12FB1}" dt="2024-03-02T12:52:58.100" v="641" actId="207"/>
          <ac:grpSpMkLst>
            <pc:docMk/>
            <pc:sldMk cId="3265123442" sldId="369"/>
            <ac:grpSpMk id="22" creationId="{F46066D3-0AB9-1EBA-CE27-C6C6EEDC8E03}"/>
          </ac:grpSpMkLst>
        </pc:grpChg>
        <pc:grpChg chg="mod">
          <ac:chgData name="qaulan sakila" userId="b18b7923db98f7e1" providerId="LiveId" clId="{FA076623-D52D-4E06-81D7-7A6044D12FB1}" dt="2024-03-02T12:52:58.100" v="641" actId="207"/>
          <ac:grpSpMkLst>
            <pc:docMk/>
            <pc:sldMk cId="3265123442" sldId="369"/>
            <ac:grpSpMk id="23" creationId="{12D42103-2FBF-EA2B-F69C-7F6CD4956248}"/>
          </ac:grpSpMkLst>
        </pc:grpChg>
        <pc:grpChg chg="mod">
          <ac:chgData name="qaulan sakila" userId="b18b7923db98f7e1" providerId="LiveId" clId="{FA076623-D52D-4E06-81D7-7A6044D12FB1}" dt="2024-03-02T12:52:58.100" v="641" actId="207"/>
          <ac:grpSpMkLst>
            <pc:docMk/>
            <pc:sldMk cId="3265123442" sldId="369"/>
            <ac:grpSpMk id="25" creationId="{46E4EFA6-BEA3-0511-EAE4-D526B39A59DF}"/>
          </ac:grpSpMkLst>
        </pc:grpChg>
        <pc:grpChg chg="mod">
          <ac:chgData name="qaulan sakila" userId="b18b7923db98f7e1" providerId="LiveId" clId="{FA076623-D52D-4E06-81D7-7A6044D12FB1}" dt="2024-03-02T12:52:58.100" v="641" actId="207"/>
          <ac:grpSpMkLst>
            <pc:docMk/>
            <pc:sldMk cId="3265123442" sldId="369"/>
            <ac:grpSpMk id="49" creationId="{74550802-A2DB-ADC7-3DC4-7B98154C88B4}"/>
          </ac:grpSpMkLst>
        </pc:grpChg>
        <pc:grpChg chg="mod">
          <ac:chgData name="qaulan sakila" userId="b18b7923db98f7e1" providerId="LiveId" clId="{FA076623-D52D-4E06-81D7-7A6044D12FB1}" dt="2024-03-02T12:52:58.100" v="641" actId="207"/>
          <ac:grpSpMkLst>
            <pc:docMk/>
            <pc:sldMk cId="3265123442" sldId="369"/>
            <ac:grpSpMk id="70" creationId="{40D9A911-75A7-AF1F-08DC-6005418B1E60}"/>
          </ac:grpSpMkLst>
        </pc:grpChg>
        <pc:grpChg chg="mod">
          <ac:chgData name="qaulan sakila" userId="b18b7923db98f7e1" providerId="LiveId" clId="{FA076623-D52D-4E06-81D7-7A6044D12FB1}" dt="2024-03-02T12:52:58.100" v="641" actId="207"/>
          <ac:grpSpMkLst>
            <pc:docMk/>
            <pc:sldMk cId="3265123442" sldId="369"/>
            <ac:grpSpMk id="75" creationId="{EDC7D395-2F7A-1DE5-E577-74C2A074A458}"/>
          </ac:grpSpMkLst>
        </pc:grpChg>
        <pc:grpChg chg="mod">
          <ac:chgData name="qaulan sakila" userId="b18b7923db98f7e1" providerId="LiveId" clId="{FA076623-D52D-4E06-81D7-7A6044D12FB1}" dt="2024-03-02T12:54:24.570" v="643" actId="207"/>
          <ac:grpSpMkLst>
            <pc:docMk/>
            <pc:sldMk cId="3265123442" sldId="369"/>
            <ac:grpSpMk id="114" creationId="{D8A09E28-A6F3-BE57-1486-A275807CC536}"/>
          </ac:grpSpMkLst>
        </pc:grpChg>
        <pc:grpChg chg="mod">
          <ac:chgData name="qaulan sakila" userId="b18b7923db98f7e1" providerId="LiveId" clId="{FA076623-D52D-4E06-81D7-7A6044D12FB1}" dt="2024-03-02T12:54:25.343" v="644" actId="207"/>
          <ac:grpSpMkLst>
            <pc:docMk/>
            <pc:sldMk cId="3265123442" sldId="369"/>
            <ac:grpSpMk id="118" creationId="{E23B974B-472B-AD30-2A81-307C2BD53EAA}"/>
          </ac:grpSpMkLst>
        </pc:grpChg>
        <pc:picChg chg="mod">
          <ac:chgData name="qaulan sakila" userId="b18b7923db98f7e1" providerId="LiveId" clId="{FA076623-D52D-4E06-81D7-7A6044D12FB1}" dt="2024-03-02T12:52:58.100" v="641" actId="207"/>
          <ac:picMkLst>
            <pc:docMk/>
            <pc:sldMk cId="3265123442" sldId="369"/>
            <ac:picMk id="5" creationId="{1B6BC4EF-07D1-5E85-A154-5D9976136DCC}"/>
          </ac:picMkLst>
        </pc:picChg>
        <pc:picChg chg="mod">
          <ac:chgData name="qaulan sakila" userId="b18b7923db98f7e1" providerId="LiveId" clId="{FA076623-D52D-4E06-81D7-7A6044D12FB1}" dt="2024-03-02T12:52:58.100" v="641" actId="207"/>
          <ac:picMkLst>
            <pc:docMk/>
            <pc:sldMk cId="3265123442" sldId="369"/>
            <ac:picMk id="29" creationId="{6C72491E-084A-E45C-331F-8DA6831D13C6}"/>
          </ac:picMkLst>
        </pc:picChg>
        <pc:picChg chg="mod">
          <ac:chgData name="qaulan sakila" userId="b18b7923db98f7e1" providerId="LiveId" clId="{FA076623-D52D-4E06-81D7-7A6044D12FB1}" dt="2024-03-02T12:52:58.100" v="641" actId="207"/>
          <ac:picMkLst>
            <pc:docMk/>
            <pc:sldMk cId="3265123442" sldId="369"/>
            <ac:picMk id="31" creationId="{E92DA883-7B9F-1A7B-F4E3-BBB77B531EBF}"/>
          </ac:picMkLst>
        </pc:picChg>
      </pc:sldChg>
      <pc:sldChg chg="add del ord setBg">
        <pc:chgData name="qaulan sakila" userId="b18b7923db98f7e1" providerId="LiveId" clId="{FA076623-D52D-4E06-81D7-7A6044D12FB1}" dt="2024-03-02T12:54:36.075" v="657" actId="47"/>
        <pc:sldMkLst>
          <pc:docMk/>
          <pc:sldMk cId="2267157141" sldId="370"/>
        </pc:sldMkLst>
      </pc:sldChg>
      <pc:sldChg chg="addSp modSp del mod">
        <pc:chgData name="qaulan sakila" userId="b18b7923db98f7e1" providerId="LiveId" clId="{FA076623-D52D-4E06-81D7-7A6044D12FB1}" dt="2024-03-02T22:51:06.710" v="1061" actId="47"/>
        <pc:sldMkLst>
          <pc:docMk/>
          <pc:sldMk cId="4137914658" sldId="370"/>
        </pc:sldMkLst>
        <pc:picChg chg="add mod">
          <ac:chgData name="qaulan sakila" userId="b18b7923db98f7e1" providerId="LiveId" clId="{FA076623-D52D-4E06-81D7-7A6044D12FB1}" dt="2024-03-02T22:50:11.768" v="1060" actId="14100"/>
          <ac:picMkLst>
            <pc:docMk/>
            <pc:sldMk cId="4137914658" sldId="370"/>
            <ac:picMk id="3" creationId="{85D86F7D-A583-6CBA-2717-79E950852865}"/>
          </ac:picMkLst>
        </pc:picChg>
      </pc:sldChg>
      <pc:sldChg chg="add del setBg">
        <pc:chgData name="qaulan sakila" userId="b18b7923db98f7e1" providerId="LiveId" clId="{FA076623-D52D-4E06-81D7-7A6044D12FB1}" dt="2024-03-02T12:54:27.853" v="649"/>
        <pc:sldMkLst>
          <pc:docMk/>
          <pc:sldMk cId="1173574161" sldId="371"/>
        </pc:sldMkLst>
      </pc:sldChg>
      <pc:sldChg chg="add del setBg">
        <pc:chgData name="qaulan sakila" userId="b18b7923db98f7e1" providerId="LiveId" clId="{FA076623-D52D-4E06-81D7-7A6044D12FB1}" dt="2024-03-02T12:54:28.434" v="651"/>
        <pc:sldMkLst>
          <pc:docMk/>
          <pc:sldMk cId="1689838970" sldId="371"/>
        </pc:sldMkLst>
      </pc:sldChg>
      <pc:sldChg chg="add del setBg">
        <pc:chgData name="qaulan sakila" userId="b18b7923db98f7e1" providerId="LiveId" clId="{FA076623-D52D-4E06-81D7-7A6044D12FB1}" dt="2024-03-02T12:54:27.493" v="648"/>
        <pc:sldMkLst>
          <pc:docMk/>
          <pc:sldMk cId="1243439452" sldId="372"/>
        </pc:sldMkLst>
      </pc:sldChg>
      <pc:sldChg chg="add del setBg">
        <pc:chgData name="qaulan sakila" userId="b18b7923db98f7e1" providerId="LiveId" clId="{FA076623-D52D-4E06-81D7-7A6044D12FB1}" dt="2024-03-02T12:54:27.179" v="647"/>
        <pc:sldMkLst>
          <pc:docMk/>
          <pc:sldMk cId="318103390" sldId="373"/>
        </pc:sldMkLst>
      </pc:sldChg>
      <pc:sldChg chg="add del setBg">
        <pc:chgData name="qaulan sakila" userId="b18b7923db98f7e1" providerId="LiveId" clId="{FA076623-D52D-4E06-81D7-7A6044D12FB1}" dt="2024-03-02T12:54:27.006" v="646"/>
        <pc:sldMkLst>
          <pc:docMk/>
          <pc:sldMk cId="430362653" sldId="374"/>
        </pc:sldMkLst>
      </pc:sldChg>
      <pc:sldChg chg="modSp add del setBg">
        <pc:chgData name="qaulan sakila" userId="b18b7923db98f7e1" providerId="LiveId" clId="{FA076623-D52D-4E06-81D7-7A6044D12FB1}" dt="2024-03-02T12:54:26.738" v="645"/>
        <pc:sldMkLst>
          <pc:docMk/>
          <pc:sldMk cId="2404047129" sldId="375"/>
        </pc:sldMkLst>
        <pc:grpChg chg="mod">
          <ac:chgData name="qaulan sakila" userId="b18b7923db98f7e1" providerId="LiveId" clId="{FA076623-D52D-4E06-81D7-7A6044D12FB1}" dt="2024-03-02T12:51:25.593" v="636" actId="208"/>
          <ac:grpSpMkLst>
            <pc:docMk/>
            <pc:sldMk cId="2404047129" sldId="375"/>
            <ac:grpSpMk id="21" creationId="{1EBF2A00-6FB9-5B9A-D196-A70791A2C2AC}"/>
          </ac:grpSpMkLst>
        </pc:grpChg>
        <pc:grpChg chg="mod">
          <ac:chgData name="qaulan sakila" userId="b18b7923db98f7e1" providerId="LiveId" clId="{FA076623-D52D-4E06-81D7-7A6044D12FB1}" dt="2024-03-02T12:51:25.593" v="636" actId="208"/>
          <ac:grpSpMkLst>
            <pc:docMk/>
            <pc:sldMk cId="2404047129" sldId="375"/>
            <ac:grpSpMk id="67" creationId="{E614589F-5B37-9034-9B66-EF19E4A54A3F}"/>
          </ac:grpSpMkLst>
        </pc:grpChg>
        <pc:picChg chg="mod">
          <ac:chgData name="qaulan sakila" userId="b18b7923db98f7e1" providerId="LiveId" clId="{FA076623-D52D-4E06-81D7-7A6044D12FB1}" dt="2024-03-02T12:51:25.593" v="636" actId="208"/>
          <ac:picMkLst>
            <pc:docMk/>
            <pc:sldMk cId="2404047129" sldId="375"/>
            <ac:picMk id="5" creationId="{DE54393A-2874-24A0-19C2-274F87332338}"/>
          </ac:picMkLst>
        </pc:picChg>
      </pc:sldChg>
      <pc:sldChg chg="add">
        <pc:chgData name="qaulan sakila" userId="b18b7923db98f7e1" providerId="LiveId" clId="{FA076623-D52D-4E06-81D7-7A6044D12FB1}" dt="2024-03-02T22:30:15.485" v="857"/>
        <pc:sldMkLst>
          <pc:docMk/>
          <pc:sldMk cId="3117641607" sldId="377"/>
        </pc:sldMkLst>
      </pc:sldChg>
      <pc:sldChg chg="addSp delSp modSp add mod modTransition">
        <pc:chgData name="qaulan sakila" userId="b18b7923db98f7e1" providerId="LiveId" clId="{FA076623-D52D-4E06-81D7-7A6044D12FB1}" dt="2024-03-02T23:28:57.697" v="1679" actId="20577"/>
        <pc:sldMkLst>
          <pc:docMk/>
          <pc:sldMk cId="4293048775" sldId="378"/>
        </pc:sldMkLst>
        <pc:spChg chg="del mod">
          <ac:chgData name="qaulan sakila" userId="b18b7923db98f7e1" providerId="LiveId" clId="{FA076623-D52D-4E06-81D7-7A6044D12FB1}" dt="2024-03-02T23:15:51.695" v="1392" actId="478"/>
          <ac:spMkLst>
            <pc:docMk/>
            <pc:sldMk cId="4293048775" sldId="378"/>
            <ac:spMk id="6" creationId="{252882A6-778F-627C-35EC-D8D4924347BD}"/>
          </ac:spMkLst>
        </pc:spChg>
        <pc:spChg chg="mod">
          <ac:chgData name="qaulan sakila" userId="b18b7923db98f7e1" providerId="LiveId" clId="{FA076623-D52D-4E06-81D7-7A6044D12FB1}" dt="2024-03-02T23:28:39.408" v="1675" actId="403"/>
          <ac:spMkLst>
            <pc:docMk/>
            <pc:sldMk cId="4293048775" sldId="378"/>
            <ac:spMk id="7" creationId="{A780BD94-930B-A283-EB2C-FD453118C064}"/>
          </ac:spMkLst>
        </pc:spChg>
        <pc:spChg chg="mod">
          <ac:chgData name="qaulan sakila" userId="b18b7923db98f7e1" providerId="LiveId" clId="{FA076623-D52D-4E06-81D7-7A6044D12FB1}" dt="2024-03-02T23:28:57.697" v="1679" actId="20577"/>
          <ac:spMkLst>
            <pc:docMk/>
            <pc:sldMk cId="4293048775" sldId="378"/>
            <ac:spMk id="8" creationId="{F0F01DD7-DB34-2394-60B1-9626619FC394}"/>
          </ac:spMkLst>
        </pc:spChg>
        <pc:spChg chg="mod ord">
          <ac:chgData name="qaulan sakila" userId="b18b7923db98f7e1" providerId="LiveId" clId="{FA076623-D52D-4E06-81D7-7A6044D12FB1}" dt="2024-03-02T23:16:56.733" v="1451" actId="1076"/>
          <ac:spMkLst>
            <pc:docMk/>
            <pc:sldMk cId="4293048775" sldId="378"/>
            <ac:spMk id="17" creationId="{0616667E-D128-0725-7AC1-C59CA5CF69D2}"/>
          </ac:spMkLst>
        </pc:spChg>
        <pc:spChg chg="del">
          <ac:chgData name="qaulan sakila" userId="b18b7923db98f7e1" providerId="LiveId" clId="{FA076623-D52D-4E06-81D7-7A6044D12FB1}" dt="2024-03-02T23:21:21.983" v="1502" actId="478"/>
          <ac:spMkLst>
            <pc:docMk/>
            <pc:sldMk cId="4293048775" sldId="378"/>
            <ac:spMk id="22" creationId="{A3497EB2-3ADA-80C4-FF86-17103A88EA03}"/>
          </ac:spMkLst>
        </pc:spChg>
        <pc:picChg chg="add mod">
          <ac:chgData name="qaulan sakila" userId="b18b7923db98f7e1" providerId="LiveId" clId="{FA076623-D52D-4E06-81D7-7A6044D12FB1}" dt="2024-03-02T23:16:03.043" v="1441" actId="1036"/>
          <ac:picMkLst>
            <pc:docMk/>
            <pc:sldMk cId="4293048775" sldId="378"/>
            <ac:picMk id="3" creationId="{9F3F7D3E-D77A-8706-3EDE-A138180C7A4B}"/>
          </ac:picMkLst>
        </pc:picChg>
        <pc:picChg chg="add mod">
          <ac:chgData name="qaulan sakila" userId="b18b7923db98f7e1" providerId="LiveId" clId="{FA076623-D52D-4E06-81D7-7A6044D12FB1}" dt="2024-03-02T23:21:40.799" v="1582" actId="1038"/>
          <ac:picMkLst>
            <pc:docMk/>
            <pc:sldMk cId="4293048775" sldId="378"/>
            <ac:picMk id="4" creationId="{E1C215E4-11E9-957E-AD05-DA9DE05FC844}"/>
          </ac:picMkLst>
        </pc:picChg>
        <pc:picChg chg="del">
          <ac:chgData name="qaulan sakila" userId="b18b7923db98f7e1" providerId="LiveId" clId="{FA076623-D52D-4E06-81D7-7A6044D12FB1}" dt="2024-03-02T23:13:50.597" v="1384" actId="478"/>
          <ac:picMkLst>
            <pc:docMk/>
            <pc:sldMk cId="4293048775" sldId="378"/>
            <ac:picMk id="15" creationId="{F0A19150-A72F-0798-A4E2-88390619D787}"/>
          </ac:picMkLst>
        </pc:picChg>
        <pc:picChg chg="del">
          <ac:chgData name="qaulan sakila" userId="b18b7923db98f7e1" providerId="LiveId" clId="{FA076623-D52D-4E06-81D7-7A6044D12FB1}" dt="2024-03-02T23:21:34.810" v="1579" actId="478"/>
          <ac:picMkLst>
            <pc:docMk/>
            <pc:sldMk cId="4293048775" sldId="378"/>
            <ac:picMk id="26" creationId="{985D51DE-62AC-05A1-4315-08BA58E382E2}"/>
          </ac:picMkLst>
        </pc:picChg>
      </pc:sldChg>
      <pc:sldChg chg="addSp delSp modSp add mod">
        <pc:chgData name="qaulan sakila" userId="b18b7923db98f7e1" providerId="LiveId" clId="{FA076623-D52D-4E06-81D7-7A6044D12FB1}" dt="2024-03-02T23:40:32.067" v="1932" actId="207"/>
        <pc:sldMkLst>
          <pc:docMk/>
          <pc:sldMk cId="1675154553" sldId="379"/>
        </pc:sldMkLst>
        <pc:spChg chg="add mod">
          <ac:chgData name="qaulan sakila" userId="b18b7923db98f7e1" providerId="LiveId" clId="{FA076623-D52D-4E06-81D7-7A6044D12FB1}" dt="2024-03-02T23:17:35.056" v="1456"/>
          <ac:spMkLst>
            <pc:docMk/>
            <pc:sldMk cId="1675154553" sldId="379"/>
            <ac:spMk id="3" creationId="{5D29F5C3-EEBB-8E15-9BEF-6280109BF6D7}"/>
          </ac:spMkLst>
        </pc:spChg>
        <pc:spChg chg="del">
          <ac:chgData name="qaulan sakila" userId="b18b7923db98f7e1" providerId="LiveId" clId="{FA076623-D52D-4E06-81D7-7A6044D12FB1}" dt="2024-03-02T23:20:35.806" v="1499" actId="478"/>
          <ac:spMkLst>
            <pc:docMk/>
            <pc:sldMk cId="1675154553" sldId="379"/>
            <ac:spMk id="6" creationId="{7540A57F-89F3-1335-1B29-8F0CBCF93ED8}"/>
          </ac:spMkLst>
        </pc:spChg>
        <pc:spChg chg="mod">
          <ac:chgData name="qaulan sakila" userId="b18b7923db98f7e1" providerId="LiveId" clId="{FA076623-D52D-4E06-81D7-7A6044D12FB1}" dt="2024-03-02T23:40:32.067" v="1932" actId="207"/>
          <ac:spMkLst>
            <pc:docMk/>
            <pc:sldMk cId="1675154553" sldId="379"/>
            <ac:spMk id="7" creationId="{D9628778-3A19-43E2-0D45-84A5A5790D49}"/>
          </ac:spMkLst>
        </pc:spChg>
        <pc:spChg chg="mod">
          <ac:chgData name="qaulan sakila" userId="b18b7923db98f7e1" providerId="LiveId" clId="{FA076623-D52D-4E06-81D7-7A6044D12FB1}" dt="2024-03-02T23:31:09.944" v="1724" actId="1036"/>
          <ac:spMkLst>
            <pc:docMk/>
            <pc:sldMk cId="1675154553" sldId="379"/>
            <ac:spMk id="8" creationId="{6A97965A-0872-C756-5945-C7EE17112250}"/>
          </ac:spMkLst>
        </pc:spChg>
        <pc:spChg chg="add mod">
          <ac:chgData name="qaulan sakila" userId="b18b7923db98f7e1" providerId="LiveId" clId="{FA076623-D52D-4E06-81D7-7A6044D12FB1}" dt="2024-03-02T23:17:46.132" v="1460" actId="1076"/>
          <ac:spMkLst>
            <pc:docMk/>
            <pc:sldMk cId="1675154553" sldId="379"/>
            <ac:spMk id="10" creationId="{CBD6D8D0-8387-912A-7FD3-3544D119001E}"/>
          </ac:spMkLst>
        </pc:spChg>
        <pc:spChg chg="add del">
          <ac:chgData name="qaulan sakila" userId="b18b7923db98f7e1" providerId="LiveId" clId="{FA076623-D52D-4E06-81D7-7A6044D12FB1}" dt="2024-03-02T23:17:50.200" v="1461" actId="478"/>
          <ac:spMkLst>
            <pc:docMk/>
            <pc:sldMk cId="1675154553" sldId="379"/>
            <ac:spMk id="13" creationId="{654A1D0C-A8A2-41BC-4212-754F555D9247}"/>
          </ac:spMkLst>
        </pc:spChg>
        <pc:spChg chg="del">
          <ac:chgData name="qaulan sakila" userId="b18b7923db98f7e1" providerId="LiveId" clId="{FA076623-D52D-4E06-81D7-7A6044D12FB1}" dt="2024-03-02T23:17:17.733" v="1454" actId="478"/>
          <ac:spMkLst>
            <pc:docMk/>
            <pc:sldMk cId="1675154553" sldId="379"/>
            <ac:spMk id="14" creationId="{3F4A1C96-CA84-B70D-5964-FA559F9333C4}"/>
          </ac:spMkLst>
        </pc:spChg>
        <pc:picChg chg="add mod">
          <ac:chgData name="qaulan sakila" userId="b18b7923db98f7e1" providerId="LiveId" clId="{FA076623-D52D-4E06-81D7-7A6044D12FB1}" dt="2024-03-02T23:17:35.056" v="1456"/>
          <ac:picMkLst>
            <pc:docMk/>
            <pc:sldMk cId="1675154553" sldId="379"/>
            <ac:picMk id="2" creationId="{5C6014C0-1CAE-A9D2-BD13-A00542EFD891}"/>
          </ac:picMkLst>
        </pc:picChg>
        <pc:picChg chg="add mod">
          <ac:chgData name="qaulan sakila" userId="b18b7923db98f7e1" providerId="LiveId" clId="{FA076623-D52D-4E06-81D7-7A6044D12FB1}" dt="2024-03-02T23:17:57.319" v="1485" actId="1037"/>
          <ac:picMkLst>
            <pc:docMk/>
            <pc:sldMk cId="1675154553" sldId="379"/>
            <ac:picMk id="4" creationId="{2E531FDC-FF42-369E-70CF-945ED8661F81}"/>
          </ac:picMkLst>
        </pc:picChg>
        <pc:picChg chg="add del mod">
          <ac:chgData name="qaulan sakila" userId="b18b7923db98f7e1" providerId="LiveId" clId="{FA076623-D52D-4E06-81D7-7A6044D12FB1}" dt="2024-03-02T23:19:30.550" v="1491" actId="478"/>
          <ac:picMkLst>
            <pc:docMk/>
            <pc:sldMk cId="1675154553" sldId="379"/>
            <ac:picMk id="12" creationId="{3ED22393-1722-8622-43A7-9D14B9E70878}"/>
          </ac:picMkLst>
        </pc:picChg>
        <pc:picChg chg="del">
          <ac:chgData name="qaulan sakila" userId="b18b7923db98f7e1" providerId="LiveId" clId="{FA076623-D52D-4E06-81D7-7A6044D12FB1}" dt="2024-03-02T23:17:13.737" v="1453" actId="478"/>
          <ac:picMkLst>
            <pc:docMk/>
            <pc:sldMk cId="1675154553" sldId="379"/>
            <ac:picMk id="15" creationId="{2A9EFC0B-369A-0F89-87AF-DBD973953E7D}"/>
          </ac:picMkLst>
        </pc:picChg>
        <pc:picChg chg="del">
          <ac:chgData name="qaulan sakila" userId="b18b7923db98f7e1" providerId="LiveId" clId="{FA076623-D52D-4E06-81D7-7A6044D12FB1}" dt="2024-03-02T23:20:34.435" v="1498" actId="478"/>
          <ac:picMkLst>
            <pc:docMk/>
            <pc:sldMk cId="1675154553" sldId="379"/>
            <ac:picMk id="22" creationId="{D7BDA882-2DA6-B07D-8D31-2594CE194CB8}"/>
          </ac:picMkLst>
        </pc:picChg>
        <pc:picChg chg="add mod ord">
          <ac:chgData name="qaulan sakila" userId="b18b7923db98f7e1" providerId="LiveId" clId="{FA076623-D52D-4E06-81D7-7A6044D12FB1}" dt="2024-03-02T23:20:40.608" v="1501" actId="1038"/>
          <ac:picMkLst>
            <pc:docMk/>
            <pc:sldMk cId="1675154553" sldId="379"/>
            <ac:picMk id="24" creationId="{9BF77751-0DB9-1352-7002-EC468D91CB8C}"/>
          </ac:picMkLst>
        </pc:picChg>
      </pc:sldChg>
      <pc:sldChg chg="addSp delSp modSp add mod">
        <pc:chgData name="qaulan sakila" userId="b18b7923db98f7e1" providerId="LiveId" clId="{FA076623-D52D-4E06-81D7-7A6044D12FB1}" dt="2024-03-02T23:43:43.312" v="1937"/>
        <pc:sldMkLst>
          <pc:docMk/>
          <pc:sldMk cId="2293822609" sldId="380"/>
        </pc:sldMkLst>
        <pc:spChg chg="add del">
          <ac:chgData name="qaulan sakila" userId="b18b7923db98f7e1" providerId="LiveId" clId="{FA076623-D52D-4E06-81D7-7A6044D12FB1}" dt="2024-03-02T23:23:31.182" v="1592" actId="478"/>
          <ac:spMkLst>
            <pc:docMk/>
            <pc:sldMk cId="2293822609" sldId="380"/>
            <ac:spMk id="6" creationId="{42D35FBE-1D85-25FF-6CF0-096D74446CB4}"/>
          </ac:spMkLst>
        </pc:spChg>
        <pc:spChg chg="mod">
          <ac:chgData name="qaulan sakila" userId="b18b7923db98f7e1" providerId="LiveId" clId="{FA076623-D52D-4E06-81D7-7A6044D12FB1}" dt="2024-03-02T23:34:51.701" v="1826" actId="1035"/>
          <ac:spMkLst>
            <pc:docMk/>
            <pc:sldMk cId="2293822609" sldId="380"/>
            <ac:spMk id="7" creationId="{5805E9C6-38F1-6FEB-3666-660BC4C73126}"/>
          </ac:spMkLst>
        </pc:spChg>
        <pc:spChg chg="mod">
          <ac:chgData name="qaulan sakila" userId="b18b7923db98f7e1" providerId="LiveId" clId="{FA076623-D52D-4E06-81D7-7A6044D12FB1}" dt="2024-03-02T23:36:13.258" v="1834" actId="20577"/>
          <ac:spMkLst>
            <pc:docMk/>
            <pc:sldMk cId="2293822609" sldId="380"/>
            <ac:spMk id="8" creationId="{7C89D3D8-61D3-A72A-ED57-52133BC9201E}"/>
          </ac:spMkLst>
        </pc:spChg>
        <pc:spChg chg="add mod">
          <ac:chgData name="qaulan sakila" userId="b18b7923db98f7e1" providerId="LiveId" clId="{FA076623-D52D-4E06-81D7-7A6044D12FB1}" dt="2024-03-02T23:36:30.546" v="1838" actId="20577"/>
          <ac:spMkLst>
            <pc:docMk/>
            <pc:sldMk cId="2293822609" sldId="380"/>
            <ac:spMk id="11" creationId="{78EA4172-2FED-734E-A1D6-098C2AF27306}"/>
          </ac:spMkLst>
        </pc:spChg>
        <pc:spChg chg="add mod">
          <ac:chgData name="qaulan sakila" userId="b18b7923db98f7e1" providerId="LiveId" clId="{FA076623-D52D-4E06-81D7-7A6044D12FB1}" dt="2024-03-02T23:43:43.312" v="1937"/>
          <ac:spMkLst>
            <pc:docMk/>
            <pc:sldMk cId="2293822609" sldId="380"/>
            <ac:spMk id="12" creationId="{F8067209-A9C0-713B-03FB-20C04A783DBB}"/>
          </ac:spMkLst>
        </pc:spChg>
        <pc:spChg chg="del">
          <ac:chgData name="qaulan sakila" userId="b18b7923db98f7e1" providerId="LiveId" clId="{FA076623-D52D-4E06-81D7-7A6044D12FB1}" dt="2024-03-02T23:32:47.287" v="1749" actId="478"/>
          <ac:spMkLst>
            <pc:docMk/>
            <pc:sldMk cId="2293822609" sldId="380"/>
            <ac:spMk id="13" creationId="{7A463364-09B7-41CE-8CA4-D4509E746551}"/>
          </ac:spMkLst>
        </pc:spChg>
        <pc:spChg chg="del">
          <ac:chgData name="qaulan sakila" userId="b18b7923db98f7e1" providerId="LiveId" clId="{FA076623-D52D-4E06-81D7-7A6044D12FB1}" dt="2024-03-02T23:31:34.150" v="1728" actId="478"/>
          <ac:spMkLst>
            <pc:docMk/>
            <pc:sldMk cId="2293822609" sldId="380"/>
            <ac:spMk id="14" creationId="{1CF73838-A972-2BE9-C7F4-635C8875E1B9}"/>
          </ac:spMkLst>
        </pc:spChg>
        <pc:spChg chg="del mod ord">
          <ac:chgData name="qaulan sakila" userId="b18b7923db98f7e1" providerId="LiveId" clId="{FA076623-D52D-4E06-81D7-7A6044D12FB1}" dt="2024-03-02T23:43:42.402" v="1936" actId="478"/>
          <ac:spMkLst>
            <pc:docMk/>
            <pc:sldMk cId="2293822609" sldId="380"/>
            <ac:spMk id="17" creationId="{959F792E-B262-62AE-83A6-09EE22351F8E}"/>
          </ac:spMkLst>
        </pc:spChg>
        <pc:picChg chg="add mod">
          <ac:chgData name="qaulan sakila" userId="b18b7923db98f7e1" providerId="LiveId" clId="{FA076623-D52D-4E06-81D7-7A6044D12FB1}" dt="2024-03-02T23:26:48.108" v="1614" actId="1037"/>
          <ac:picMkLst>
            <pc:docMk/>
            <pc:sldMk cId="2293822609" sldId="380"/>
            <ac:picMk id="3" creationId="{CC193936-B565-BEE7-D8B2-D71F006EB17D}"/>
          </ac:picMkLst>
        </pc:picChg>
        <pc:picChg chg="add mod">
          <ac:chgData name="qaulan sakila" userId="b18b7923db98f7e1" providerId="LiveId" clId="{FA076623-D52D-4E06-81D7-7A6044D12FB1}" dt="2024-03-02T23:33:00.268" v="1774" actId="1036"/>
          <ac:picMkLst>
            <pc:docMk/>
            <pc:sldMk cId="2293822609" sldId="380"/>
            <ac:picMk id="10" creationId="{CF567776-9DB1-DCD4-AB9E-B7602CDBC2B5}"/>
          </ac:picMkLst>
        </pc:picChg>
        <pc:picChg chg="del">
          <ac:chgData name="qaulan sakila" userId="b18b7923db98f7e1" providerId="LiveId" clId="{FA076623-D52D-4E06-81D7-7A6044D12FB1}" dt="2024-03-02T23:31:27.225" v="1727" actId="478"/>
          <ac:picMkLst>
            <pc:docMk/>
            <pc:sldMk cId="2293822609" sldId="380"/>
            <ac:picMk id="15" creationId="{41172396-CB2C-187B-92B9-81D5A69C985C}"/>
          </ac:picMkLst>
        </pc:picChg>
        <pc:picChg chg="del">
          <ac:chgData name="qaulan sakila" userId="b18b7923db98f7e1" providerId="LiveId" clId="{FA076623-D52D-4E06-81D7-7A6044D12FB1}" dt="2024-03-02T23:23:04.539" v="1584" actId="478"/>
          <ac:picMkLst>
            <pc:docMk/>
            <pc:sldMk cId="2293822609" sldId="380"/>
            <ac:picMk id="22" creationId="{2D8EF844-82AE-E2C3-DBB1-BA4902E422A4}"/>
          </ac:picMkLst>
        </pc:picChg>
      </pc:sldChg>
      <pc:sldChg chg="addSp delSp modSp add mod">
        <pc:chgData name="qaulan sakila" userId="b18b7923db98f7e1" providerId="LiveId" clId="{FA076623-D52D-4E06-81D7-7A6044D12FB1}" dt="2024-03-02T23:40:03.497" v="1928" actId="14100"/>
        <pc:sldMkLst>
          <pc:docMk/>
          <pc:sldMk cId="84688550" sldId="381"/>
        </pc:sldMkLst>
        <pc:spChg chg="del">
          <ac:chgData name="qaulan sakila" userId="b18b7923db98f7e1" providerId="LiveId" clId="{FA076623-D52D-4E06-81D7-7A6044D12FB1}" dt="2024-03-02T23:36:43.274" v="1841" actId="478"/>
          <ac:spMkLst>
            <pc:docMk/>
            <pc:sldMk cId="84688550" sldId="381"/>
            <ac:spMk id="6" creationId="{9DB61BAC-94B7-80FA-425B-B3A58E5CECAF}"/>
          </ac:spMkLst>
        </pc:spChg>
        <pc:spChg chg="mod">
          <ac:chgData name="qaulan sakila" userId="b18b7923db98f7e1" providerId="LiveId" clId="{FA076623-D52D-4E06-81D7-7A6044D12FB1}" dt="2024-03-02T23:39:38.906" v="1923" actId="1037"/>
          <ac:spMkLst>
            <pc:docMk/>
            <pc:sldMk cId="84688550" sldId="381"/>
            <ac:spMk id="7" creationId="{89770285-39CD-6FD3-9D64-D7145A472EFE}"/>
          </ac:spMkLst>
        </pc:spChg>
        <pc:spChg chg="mod">
          <ac:chgData name="qaulan sakila" userId="b18b7923db98f7e1" providerId="LiveId" clId="{FA076623-D52D-4E06-81D7-7A6044D12FB1}" dt="2024-03-02T23:40:03.497" v="1928" actId="14100"/>
          <ac:spMkLst>
            <pc:docMk/>
            <pc:sldMk cId="84688550" sldId="381"/>
            <ac:spMk id="8" creationId="{2774E090-AEC4-67A8-DC80-9816E8F91598}"/>
          </ac:spMkLst>
        </pc:spChg>
        <pc:spChg chg="add mod">
          <ac:chgData name="qaulan sakila" userId="b18b7923db98f7e1" providerId="LiveId" clId="{FA076623-D52D-4E06-81D7-7A6044D12FB1}" dt="2024-03-02T23:36:49.018" v="1843" actId="1076"/>
          <ac:spMkLst>
            <pc:docMk/>
            <pc:sldMk cId="84688550" sldId="381"/>
            <ac:spMk id="10" creationId="{4461AFBC-4011-8219-68EC-58E75C3E493F}"/>
          </ac:spMkLst>
        </pc:spChg>
        <pc:spChg chg="del">
          <ac:chgData name="qaulan sakila" userId="b18b7923db98f7e1" providerId="LiveId" clId="{FA076623-D52D-4E06-81D7-7A6044D12FB1}" dt="2024-03-02T23:36:41.808" v="1840" actId="478"/>
          <ac:spMkLst>
            <pc:docMk/>
            <pc:sldMk cId="84688550" sldId="381"/>
            <ac:spMk id="17" creationId="{531F6D1A-1528-5950-5E55-57C025512374}"/>
          </ac:spMkLst>
        </pc:spChg>
        <pc:spChg chg="del">
          <ac:chgData name="qaulan sakila" userId="b18b7923db98f7e1" providerId="LiveId" clId="{FA076623-D52D-4E06-81D7-7A6044D12FB1}" dt="2024-03-02T23:27:47.159" v="1646" actId="478"/>
          <ac:spMkLst>
            <pc:docMk/>
            <pc:sldMk cId="84688550" sldId="381"/>
            <ac:spMk id="22" creationId="{D480218E-FEA6-773F-DB49-773C9A4E9520}"/>
          </ac:spMkLst>
        </pc:spChg>
        <pc:picChg chg="add mod">
          <ac:chgData name="qaulan sakila" userId="b18b7923db98f7e1" providerId="LiveId" clId="{FA076623-D52D-4E06-81D7-7A6044D12FB1}" dt="2024-03-02T23:27:51.171" v="1668" actId="1035"/>
          <ac:picMkLst>
            <pc:docMk/>
            <pc:sldMk cId="84688550" sldId="381"/>
            <ac:picMk id="2" creationId="{CF59E247-9906-A15A-D4BC-6B0401AC826E}"/>
          </ac:picMkLst>
        </pc:picChg>
        <pc:picChg chg="del">
          <ac:chgData name="qaulan sakila" userId="b18b7923db98f7e1" providerId="LiveId" clId="{FA076623-D52D-4E06-81D7-7A6044D12FB1}" dt="2024-03-02T23:36:38.266" v="1839" actId="478"/>
          <ac:picMkLst>
            <pc:docMk/>
            <pc:sldMk cId="84688550" sldId="381"/>
            <ac:picMk id="3" creationId="{B412BD9D-C7FE-1BB7-138A-D7470B40C4D2}"/>
          </ac:picMkLst>
        </pc:picChg>
        <pc:picChg chg="add mod">
          <ac:chgData name="qaulan sakila" userId="b18b7923db98f7e1" providerId="LiveId" clId="{FA076623-D52D-4E06-81D7-7A6044D12FB1}" dt="2024-03-02T23:36:49.018" v="1843" actId="1076"/>
          <ac:picMkLst>
            <pc:docMk/>
            <pc:sldMk cId="84688550" sldId="381"/>
            <ac:picMk id="4" creationId="{872A4CBB-B238-E438-B1E5-0BDF9876F521}"/>
          </ac:picMkLst>
        </pc:picChg>
        <pc:picChg chg="del">
          <ac:chgData name="qaulan sakila" userId="b18b7923db98f7e1" providerId="LiveId" clId="{FA076623-D52D-4E06-81D7-7A6044D12FB1}" dt="2024-03-02T23:27:31.661" v="1636" actId="478"/>
          <ac:picMkLst>
            <pc:docMk/>
            <pc:sldMk cId="84688550" sldId="381"/>
            <ac:picMk id="26" creationId="{353C56B9-AFD5-35EA-15F6-F77FDE01F1B2}"/>
          </ac:picMkLst>
        </pc:picChg>
      </pc:sldChg>
      <pc:sldMasterChg chg="delSldLayout">
        <pc:chgData name="qaulan sakila" userId="b18b7923db98f7e1" providerId="LiveId" clId="{FA076623-D52D-4E06-81D7-7A6044D12FB1}" dt="2024-03-02T22:30:12.350" v="856" actId="47"/>
        <pc:sldMasterMkLst>
          <pc:docMk/>
          <pc:sldMasterMk cId="2764657770" sldId="2147483655"/>
        </pc:sldMasterMkLst>
        <pc:sldLayoutChg chg="del">
          <pc:chgData name="qaulan sakila" userId="b18b7923db98f7e1" providerId="LiveId" clId="{FA076623-D52D-4E06-81D7-7A6044D12FB1}" dt="2024-03-02T22:30:12.350" v="856" actId="47"/>
          <pc:sldLayoutMkLst>
            <pc:docMk/>
            <pc:sldMasterMk cId="2764657770" sldId="2147483655"/>
            <pc:sldLayoutMk cId="1838184333" sldId="2147483661"/>
          </pc:sldLayoutMkLst>
        </pc:sldLayoutChg>
      </pc:sldMasterChg>
    </pc:docChg>
  </pc:docChgLst>
  <pc:docChgLst>
    <pc:chgData name="qaulan sakila" userId="b18b7923db98f7e1" providerId="LiveId" clId="{4B8E178C-86A0-45D0-84AA-7E271392E063}"/>
    <pc:docChg chg="undo custSel delSld modSld delSection modSection">
      <pc:chgData name="qaulan sakila" userId="b18b7923db98f7e1" providerId="LiveId" clId="{4B8E178C-86A0-45D0-84AA-7E271392E063}" dt="2024-03-03T10:15:15.928" v="479" actId="47"/>
      <pc:docMkLst>
        <pc:docMk/>
      </pc:docMkLst>
      <pc:sldChg chg="delSp modSp mod">
        <pc:chgData name="qaulan sakila" userId="b18b7923db98f7e1" providerId="LiveId" clId="{4B8E178C-86A0-45D0-84AA-7E271392E063}" dt="2024-03-03T10:05:40.969" v="393" actId="1037"/>
        <pc:sldMkLst>
          <pc:docMk/>
          <pc:sldMk cId="928790664" sldId="257"/>
        </pc:sldMkLst>
        <pc:graphicFrameChg chg="mod">
          <ac:chgData name="qaulan sakila" userId="b18b7923db98f7e1" providerId="LiveId" clId="{4B8E178C-86A0-45D0-84AA-7E271392E063}" dt="2024-03-03T10:05:28.801" v="387" actId="1076"/>
          <ac:graphicFrameMkLst>
            <pc:docMk/>
            <pc:sldMk cId="928790664" sldId="257"/>
            <ac:graphicFrameMk id="6" creationId="{B1081732-B29C-427A-BB26-E7D808C36F7E}"/>
          </ac:graphicFrameMkLst>
        </pc:graphicFrameChg>
        <pc:graphicFrameChg chg="del">
          <ac:chgData name="qaulan sakila" userId="b18b7923db98f7e1" providerId="LiveId" clId="{4B8E178C-86A0-45D0-84AA-7E271392E063}" dt="2024-03-03T10:04:38.687" v="376" actId="478"/>
          <ac:graphicFrameMkLst>
            <pc:docMk/>
            <pc:sldMk cId="928790664" sldId="257"/>
            <ac:graphicFrameMk id="7" creationId="{8E661FF9-0112-6B52-6C64-1EF45B008667}"/>
          </ac:graphicFrameMkLst>
        </pc:graphicFrameChg>
        <pc:graphicFrameChg chg="del">
          <ac:chgData name="qaulan sakila" userId="b18b7923db98f7e1" providerId="LiveId" clId="{4B8E178C-86A0-45D0-84AA-7E271392E063}" dt="2024-03-03T10:04:36.529" v="375" actId="478"/>
          <ac:graphicFrameMkLst>
            <pc:docMk/>
            <pc:sldMk cId="928790664" sldId="257"/>
            <ac:graphicFrameMk id="10" creationId="{E2295347-400D-29F0-3F85-9DF6AB73086C}"/>
          </ac:graphicFrameMkLst>
        </pc:graphicFrameChg>
        <pc:graphicFrameChg chg="mod">
          <ac:chgData name="qaulan sakila" userId="b18b7923db98f7e1" providerId="LiveId" clId="{4B8E178C-86A0-45D0-84AA-7E271392E063}" dt="2024-03-03T10:05:40.969" v="393" actId="1037"/>
          <ac:graphicFrameMkLst>
            <pc:docMk/>
            <pc:sldMk cId="928790664" sldId="257"/>
            <ac:graphicFrameMk id="14" creationId="{A7BE38A7-4356-4C22-0675-417DA03810A9}"/>
          </ac:graphicFrameMkLst>
        </pc:graphicFrameChg>
      </pc:sldChg>
      <pc:sldChg chg="del">
        <pc:chgData name="qaulan sakila" userId="b18b7923db98f7e1" providerId="LiveId" clId="{4B8E178C-86A0-45D0-84AA-7E271392E063}" dt="2024-03-03T10:03:29.809" v="372" actId="47"/>
        <pc:sldMkLst>
          <pc:docMk/>
          <pc:sldMk cId="1105292303" sldId="258"/>
        </pc:sldMkLst>
      </pc:sldChg>
      <pc:sldChg chg="del">
        <pc:chgData name="qaulan sakila" userId="b18b7923db98f7e1" providerId="LiveId" clId="{4B8E178C-86A0-45D0-84AA-7E271392E063}" dt="2024-03-03T10:03:29.809" v="372" actId="47"/>
        <pc:sldMkLst>
          <pc:docMk/>
          <pc:sldMk cId="4070234439" sldId="259"/>
        </pc:sldMkLst>
      </pc:sldChg>
      <pc:sldChg chg="del">
        <pc:chgData name="qaulan sakila" userId="b18b7923db98f7e1" providerId="LiveId" clId="{4B8E178C-86A0-45D0-84AA-7E271392E063}" dt="2024-03-03T10:03:29.809" v="372" actId="47"/>
        <pc:sldMkLst>
          <pc:docMk/>
          <pc:sldMk cId="3693902302" sldId="260"/>
        </pc:sldMkLst>
      </pc:sldChg>
      <pc:sldChg chg="del">
        <pc:chgData name="qaulan sakila" userId="b18b7923db98f7e1" providerId="LiveId" clId="{4B8E178C-86A0-45D0-84AA-7E271392E063}" dt="2024-03-03T10:03:29.809" v="372" actId="47"/>
        <pc:sldMkLst>
          <pc:docMk/>
          <pc:sldMk cId="3790738159" sldId="282"/>
        </pc:sldMkLst>
      </pc:sldChg>
      <pc:sldChg chg="del">
        <pc:chgData name="qaulan sakila" userId="b18b7923db98f7e1" providerId="LiveId" clId="{4B8E178C-86A0-45D0-84AA-7E271392E063}" dt="2024-03-03T10:03:29.809" v="372" actId="47"/>
        <pc:sldMkLst>
          <pc:docMk/>
          <pc:sldMk cId="1187649910" sldId="283"/>
        </pc:sldMkLst>
      </pc:sldChg>
      <pc:sldChg chg="addSp delSp modSp mod">
        <pc:chgData name="qaulan sakila" userId="b18b7923db98f7e1" providerId="LiveId" clId="{4B8E178C-86A0-45D0-84AA-7E271392E063}" dt="2024-03-03T10:13:02.915" v="470" actId="14100"/>
        <pc:sldMkLst>
          <pc:docMk/>
          <pc:sldMk cId="2094057427" sldId="285"/>
        </pc:sldMkLst>
        <pc:picChg chg="add mod">
          <ac:chgData name="qaulan sakila" userId="b18b7923db98f7e1" providerId="LiveId" clId="{4B8E178C-86A0-45D0-84AA-7E271392E063}" dt="2024-03-03T10:13:02.915" v="470" actId="14100"/>
          <ac:picMkLst>
            <pc:docMk/>
            <pc:sldMk cId="2094057427" sldId="285"/>
            <ac:picMk id="2" creationId="{61EF204B-5C63-8F25-97F7-1EBEDF3EFD07}"/>
          </ac:picMkLst>
        </pc:picChg>
        <pc:picChg chg="del">
          <ac:chgData name="qaulan sakila" userId="b18b7923db98f7e1" providerId="LiveId" clId="{4B8E178C-86A0-45D0-84AA-7E271392E063}" dt="2024-03-03T10:12:24.092" v="455" actId="478"/>
          <ac:picMkLst>
            <pc:docMk/>
            <pc:sldMk cId="2094057427" sldId="285"/>
            <ac:picMk id="60" creationId="{472554BA-3FEF-18B6-04F3-36D81B925794}"/>
          </ac:picMkLst>
        </pc:picChg>
      </pc:sldChg>
      <pc:sldChg chg="addSp delSp modSp mod">
        <pc:chgData name="qaulan sakila" userId="b18b7923db98f7e1" providerId="LiveId" clId="{4B8E178C-86A0-45D0-84AA-7E271392E063}" dt="2024-03-03T10:14:53.535" v="478" actId="478"/>
        <pc:sldMkLst>
          <pc:docMk/>
          <pc:sldMk cId="1225408640" sldId="286"/>
        </pc:sldMkLst>
        <pc:picChg chg="add mod">
          <ac:chgData name="qaulan sakila" userId="b18b7923db98f7e1" providerId="LiveId" clId="{4B8E178C-86A0-45D0-84AA-7E271392E063}" dt="2024-03-03T10:11:31.772" v="446" actId="14100"/>
          <ac:picMkLst>
            <pc:docMk/>
            <pc:sldMk cId="1225408640" sldId="286"/>
            <ac:picMk id="2" creationId="{66711E98-FA83-57C6-A2CE-82E4178551C6}"/>
          </ac:picMkLst>
        </pc:picChg>
        <pc:picChg chg="del">
          <ac:chgData name="qaulan sakila" userId="b18b7923db98f7e1" providerId="LiveId" clId="{4B8E178C-86A0-45D0-84AA-7E271392E063}" dt="2024-03-03T10:14:53.535" v="478" actId="478"/>
          <ac:picMkLst>
            <pc:docMk/>
            <pc:sldMk cId="1225408640" sldId="286"/>
            <ac:picMk id="15" creationId="{6054302B-3700-8AE3-99F8-BF6BD46774F5}"/>
          </ac:picMkLst>
        </pc:picChg>
        <pc:picChg chg="del">
          <ac:chgData name="qaulan sakila" userId="b18b7923db98f7e1" providerId="LiveId" clId="{4B8E178C-86A0-45D0-84AA-7E271392E063}" dt="2024-03-03T10:14:53.535" v="478" actId="478"/>
          <ac:picMkLst>
            <pc:docMk/>
            <pc:sldMk cId="1225408640" sldId="286"/>
            <ac:picMk id="16" creationId="{49EE672A-B28C-0DAB-3E3A-111E3905BB3C}"/>
          </ac:picMkLst>
        </pc:picChg>
        <pc:picChg chg="del">
          <ac:chgData name="qaulan sakila" userId="b18b7923db98f7e1" providerId="LiveId" clId="{4B8E178C-86A0-45D0-84AA-7E271392E063}" dt="2024-03-03T10:14:53.535" v="478" actId="478"/>
          <ac:picMkLst>
            <pc:docMk/>
            <pc:sldMk cId="1225408640" sldId="286"/>
            <ac:picMk id="17" creationId="{712DC755-D5F0-A7E1-F1D3-DADB961C503A}"/>
          </ac:picMkLst>
        </pc:picChg>
        <pc:picChg chg="del">
          <ac:chgData name="qaulan sakila" userId="b18b7923db98f7e1" providerId="LiveId" clId="{4B8E178C-86A0-45D0-84AA-7E271392E063}" dt="2024-03-03T10:14:53.535" v="478" actId="478"/>
          <ac:picMkLst>
            <pc:docMk/>
            <pc:sldMk cId="1225408640" sldId="286"/>
            <ac:picMk id="18" creationId="{9F09C7E7-E256-449A-8B22-4C6D14E2A33E}"/>
          </ac:picMkLst>
        </pc:picChg>
        <pc:picChg chg="del">
          <ac:chgData name="qaulan sakila" userId="b18b7923db98f7e1" providerId="LiveId" clId="{4B8E178C-86A0-45D0-84AA-7E271392E063}" dt="2024-03-03T10:14:53.535" v="478" actId="478"/>
          <ac:picMkLst>
            <pc:docMk/>
            <pc:sldMk cId="1225408640" sldId="286"/>
            <ac:picMk id="19" creationId="{6842B8C7-65B4-782B-D3EE-DD809240FA5D}"/>
          </ac:picMkLst>
        </pc:picChg>
        <pc:picChg chg="del">
          <ac:chgData name="qaulan sakila" userId="b18b7923db98f7e1" providerId="LiveId" clId="{4B8E178C-86A0-45D0-84AA-7E271392E063}" dt="2024-03-03T10:14:53.535" v="478" actId="478"/>
          <ac:picMkLst>
            <pc:docMk/>
            <pc:sldMk cId="1225408640" sldId="286"/>
            <ac:picMk id="20" creationId="{095DDA53-1FF2-E488-818E-5CB0D1917601}"/>
          </ac:picMkLst>
        </pc:picChg>
        <pc:picChg chg="del">
          <ac:chgData name="qaulan sakila" userId="b18b7923db98f7e1" providerId="LiveId" clId="{4B8E178C-86A0-45D0-84AA-7E271392E063}" dt="2024-03-03T10:10:22.521" v="426" actId="478"/>
          <ac:picMkLst>
            <pc:docMk/>
            <pc:sldMk cId="1225408640" sldId="286"/>
            <ac:picMk id="60" creationId="{3A2249D4-148C-6EB2-679A-FB187AB2F6AA}"/>
          </ac:picMkLst>
        </pc:picChg>
      </pc:sldChg>
      <pc:sldChg chg="addSp delSp modSp mod">
        <pc:chgData name="qaulan sakila" userId="b18b7923db98f7e1" providerId="LiveId" clId="{4B8E178C-86A0-45D0-84AA-7E271392E063}" dt="2024-03-03T10:14:34.128" v="477" actId="167"/>
        <pc:sldMkLst>
          <pc:docMk/>
          <pc:sldMk cId="2706339655" sldId="287"/>
        </pc:sldMkLst>
        <pc:spChg chg="add del mod">
          <ac:chgData name="qaulan sakila" userId="b18b7923db98f7e1" providerId="LiveId" clId="{4B8E178C-86A0-45D0-84AA-7E271392E063}" dt="2024-03-03T10:14:11.747" v="474" actId="478"/>
          <ac:spMkLst>
            <pc:docMk/>
            <pc:sldMk cId="2706339655" sldId="287"/>
            <ac:spMk id="10" creationId="{94EEC53A-6099-281C-17FF-6C448312E013}"/>
          </ac:spMkLst>
        </pc:spChg>
        <pc:spChg chg="add mod ord">
          <ac:chgData name="qaulan sakila" userId="b18b7923db98f7e1" providerId="LiveId" clId="{4B8E178C-86A0-45D0-84AA-7E271392E063}" dt="2024-03-03T10:14:34.128" v="477" actId="167"/>
          <ac:spMkLst>
            <pc:docMk/>
            <pc:sldMk cId="2706339655" sldId="287"/>
            <ac:spMk id="12" creationId="{76F45663-C32C-FAF0-29FE-E562B8141AFF}"/>
          </ac:spMkLst>
        </pc:spChg>
        <pc:spChg chg="add mod ord">
          <ac:chgData name="qaulan sakila" userId="b18b7923db98f7e1" providerId="LiveId" clId="{4B8E178C-86A0-45D0-84AA-7E271392E063}" dt="2024-03-03T10:14:34.128" v="477" actId="167"/>
          <ac:spMkLst>
            <pc:docMk/>
            <pc:sldMk cId="2706339655" sldId="287"/>
            <ac:spMk id="13" creationId="{E6F1CDFA-7A35-50C9-BF63-8CB4E45558DF}"/>
          </ac:spMkLst>
        </pc:spChg>
        <pc:spChg chg="add mod ord">
          <ac:chgData name="qaulan sakila" userId="b18b7923db98f7e1" providerId="LiveId" clId="{4B8E178C-86A0-45D0-84AA-7E271392E063}" dt="2024-03-03T10:14:34.128" v="477" actId="167"/>
          <ac:spMkLst>
            <pc:docMk/>
            <pc:sldMk cId="2706339655" sldId="287"/>
            <ac:spMk id="14" creationId="{2413BA6C-90DB-D102-98CF-3FE033F8180B}"/>
          </ac:spMkLst>
        </pc:spChg>
        <pc:spChg chg="add mod ord">
          <ac:chgData name="qaulan sakila" userId="b18b7923db98f7e1" providerId="LiveId" clId="{4B8E178C-86A0-45D0-84AA-7E271392E063}" dt="2024-03-03T10:14:34.128" v="477" actId="167"/>
          <ac:spMkLst>
            <pc:docMk/>
            <pc:sldMk cId="2706339655" sldId="287"/>
            <ac:spMk id="16" creationId="{9C2D9E14-52A6-F9C2-0A73-2D490A123878}"/>
          </ac:spMkLst>
        </pc:spChg>
        <pc:spChg chg="add mod ord">
          <ac:chgData name="qaulan sakila" userId="b18b7923db98f7e1" providerId="LiveId" clId="{4B8E178C-86A0-45D0-84AA-7E271392E063}" dt="2024-03-03T10:14:34.128" v="477" actId="167"/>
          <ac:spMkLst>
            <pc:docMk/>
            <pc:sldMk cId="2706339655" sldId="287"/>
            <ac:spMk id="17" creationId="{E339FE3E-71F1-EF74-E677-4075AE60BB03}"/>
          </ac:spMkLst>
        </pc:spChg>
        <pc:spChg chg="add mod ord">
          <ac:chgData name="qaulan sakila" userId="b18b7923db98f7e1" providerId="LiveId" clId="{4B8E178C-86A0-45D0-84AA-7E271392E063}" dt="2024-03-03T10:14:34.128" v="477" actId="167"/>
          <ac:spMkLst>
            <pc:docMk/>
            <pc:sldMk cId="2706339655" sldId="287"/>
            <ac:spMk id="19" creationId="{728706F2-D0A5-4233-CC6F-2AD7C43E4C4D}"/>
          </ac:spMkLst>
        </pc:spChg>
        <pc:spChg chg="mod">
          <ac:chgData name="qaulan sakila" userId="b18b7923db98f7e1" providerId="LiveId" clId="{4B8E178C-86A0-45D0-84AA-7E271392E063}" dt="2024-03-03T10:06:59.416" v="404" actId="20577"/>
          <ac:spMkLst>
            <pc:docMk/>
            <pc:sldMk cId="2706339655" sldId="287"/>
            <ac:spMk id="70" creationId="{3AABC8A5-762E-385F-7F3B-35B1D71F1501}"/>
          </ac:spMkLst>
        </pc:spChg>
        <pc:picChg chg="add mod">
          <ac:chgData name="qaulan sakila" userId="b18b7923db98f7e1" providerId="LiveId" clId="{4B8E178C-86A0-45D0-84AA-7E271392E063}" dt="2024-03-03T10:09:55.353" v="422" actId="1076"/>
          <ac:picMkLst>
            <pc:docMk/>
            <pc:sldMk cId="2706339655" sldId="287"/>
            <ac:picMk id="8" creationId="{3F7E36B0-97A3-1152-05A0-FDBCE57D67C7}"/>
          </ac:picMkLst>
        </pc:picChg>
        <pc:picChg chg="del">
          <ac:chgData name="qaulan sakila" userId="b18b7923db98f7e1" providerId="LiveId" clId="{4B8E178C-86A0-45D0-84AA-7E271392E063}" dt="2024-03-03T10:09:39.766" v="418" actId="478"/>
          <ac:picMkLst>
            <pc:docMk/>
            <pc:sldMk cId="2706339655" sldId="287"/>
            <ac:picMk id="9" creationId="{B851B167-1039-E02F-F839-90415DF7C7D6}"/>
          </ac:picMkLst>
        </pc:picChg>
        <pc:picChg chg="del">
          <ac:chgData name="qaulan sakila" userId="b18b7923db98f7e1" providerId="LiveId" clId="{4B8E178C-86A0-45D0-84AA-7E271392E063}" dt="2024-03-03T10:07:15.812" v="412" actId="478"/>
          <ac:picMkLst>
            <pc:docMk/>
            <pc:sldMk cId="2706339655" sldId="287"/>
            <ac:picMk id="18" creationId="{FE92CB05-CFE9-3B64-1A9D-08E7DD2473BF}"/>
          </ac:picMkLst>
        </pc:picChg>
        <pc:picChg chg="del">
          <ac:chgData name="qaulan sakila" userId="b18b7923db98f7e1" providerId="LiveId" clId="{4B8E178C-86A0-45D0-84AA-7E271392E063}" dt="2024-03-03T10:07:17.605" v="413" actId="478"/>
          <ac:picMkLst>
            <pc:docMk/>
            <pc:sldMk cId="2706339655" sldId="287"/>
            <ac:picMk id="22" creationId="{C43ECF0B-15AC-A9A5-FF7B-98F2D73A2964}"/>
          </ac:picMkLst>
        </pc:picChg>
        <pc:picChg chg="del">
          <ac:chgData name="qaulan sakila" userId="b18b7923db98f7e1" providerId="LiveId" clId="{4B8E178C-86A0-45D0-84AA-7E271392E063}" dt="2024-03-03T10:07:27.171" v="417" actId="478"/>
          <ac:picMkLst>
            <pc:docMk/>
            <pc:sldMk cId="2706339655" sldId="287"/>
            <ac:picMk id="24" creationId="{643915C2-1839-4D1F-6A5F-3167097071B5}"/>
          </ac:picMkLst>
        </pc:picChg>
        <pc:picChg chg="del">
          <ac:chgData name="qaulan sakila" userId="b18b7923db98f7e1" providerId="LiveId" clId="{4B8E178C-86A0-45D0-84AA-7E271392E063}" dt="2024-03-03T10:07:24.968" v="416" actId="478"/>
          <ac:picMkLst>
            <pc:docMk/>
            <pc:sldMk cId="2706339655" sldId="287"/>
            <ac:picMk id="26" creationId="{365654B2-E44A-20F1-7C58-923D50EED980}"/>
          </ac:picMkLst>
        </pc:picChg>
        <pc:picChg chg="del">
          <ac:chgData name="qaulan sakila" userId="b18b7923db98f7e1" providerId="LiveId" clId="{4B8E178C-86A0-45D0-84AA-7E271392E063}" dt="2024-03-03T10:07:21.021" v="414" actId="478"/>
          <ac:picMkLst>
            <pc:docMk/>
            <pc:sldMk cId="2706339655" sldId="287"/>
            <ac:picMk id="28" creationId="{03DDFD59-8EF4-4248-E86D-493F47CF16C7}"/>
          </ac:picMkLst>
        </pc:picChg>
        <pc:picChg chg="add del">
          <ac:chgData name="qaulan sakila" userId="b18b7923db98f7e1" providerId="LiveId" clId="{4B8E178C-86A0-45D0-84AA-7E271392E063}" dt="2024-03-03T10:07:22.972" v="415" actId="478"/>
          <ac:picMkLst>
            <pc:docMk/>
            <pc:sldMk cId="2706339655" sldId="287"/>
            <ac:picMk id="30" creationId="{2C14B397-47A4-E873-E809-2C366DE07F0B}"/>
          </ac:picMkLst>
        </pc:picChg>
      </pc:sldChg>
      <pc:sldChg chg="addSp delSp modSp mod">
        <pc:chgData name="qaulan sakila" userId="b18b7923db98f7e1" providerId="LiveId" clId="{4B8E178C-86A0-45D0-84AA-7E271392E063}" dt="2024-03-03T10:12:17.992" v="454" actId="1076"/>
        <pc:sldMkLst>
          <pc:docMk/>
          <pc:sldMk cId="1333999288" sldId="288"/>
        </pc:sldMkLst>
        <pc:spChg chg="mod">
          <ac:chgData name="qaulan sakila" userId="b18b7923db98f7e1" providerId="LiveId" clId="{4B8E178C-86A0-45D0-84AA-7E271392E063}" dt="2024-03-03T10:07:09.847" v="411" actId="20577"/>
          <ac:spMkLst>
            <pc:docMk/>
            <pc:sldMk cId="1333999288" sldId="288"/>
            <ac:spMk id="70" creationId="{72FF3C98-BA86-02F0-5B96-4EDE32AFE93C}"/>
          </ac:spMkLst>
        </pc:spChg>
        <pc:picChg chg="add mod">
          <ac:chgData name="qaulan sakila" userId="b18b7923db98f7e1" providerId="LiveId" clId="{4B8E178C-86A0-45D0-84AA-7E271392E063}" dt="2024-03-03T10:12:17.992" v="454" actId="1076"/>
          <ac:picMkLst>
            <pc:docMk/>
            <pc:sldMk cId="1333999288" sldId="288"/>
            <ac:picMk id="2" creationId="{B59B501A-631F-EE0E-9B23-2B128B057567}"/>
          </ac:picMkLst>
        </pc:picChg>
        <pc:picChg chg="del">
          <ac:chgData name="qaulan sakila" userId="b18b7923db98f7e1" providerId="LiveId" clId="{4B8E178C-86A0-45D0-84AA-7E271392E063}" dt="2024-03-03T10:11:49.833" v="447" actId="478"/>
          <ac:picMkLst>
            <pc:docMk/>
            <pc:sldMk cId="1333999288" sldId="288"/>
            <ac:picMk id="14" creationId="{21813F73-E6B1-C7CC-9A4C-C3DD1BEE5A94}"/>
          </ac:picMkLst>
        </pc:picChg>
      </pc:sldChg>
      <pc:sldChg chg="modTransition">
        <pc:chgData name="qaulan sakila" userId="b18b7923db98f7e1" providerId="LiveId" clId="{4B8E178C-86A0-45D0-84AA-7E271392E063}" dt="2024-03-03T09:16:08.932" v="4"/>
        <pc:sldMkLst>
          <pc:docMk/>
          <pc:sldMk cId="3953049327" sldId="365"/>
        </pc:sldMkLst>
      </pc:sldChg>
      <pc:sldChg chg="del">
        <pc:chgData name="qaulan sakila" userId="b18b7923db98f7e1" providerId="LiveId" clId="{4B8E178C-86A0-45D0-84AA-7E271392E063}" dt="2024-03-03T10:03:29.809" v="372" actId="47"/>
        <pc:sldMkLst>
          <pc:docMk/>
          <pc:sldMk cId="1320284797" sldId="369"/>
        </pc:sldMkLst>
      </pc:sldChg>
      <pc:sldChg chg="modSp mod">
        <pc:chgData name="qaulan sakila" userId="b18b7923db98f7e1" providerId="LiveId" clId="{4B8E178C-86A0-45D0-84AA-7E271392E063}" dt="2024-03-03T10:02:58.838" v="371" actId="14100"/>
        <pc:sldMkLst>
          <pc:docMk/>
          <pc:sldMk cId="4293048775" sldId="378"/>
        </pc:sldMkLst>
        <pc:spChg chg="mod">
          <ac:chgData name="qaulan sakila" userId="b18b7923db98f7e1" providerId="LiveId" clId="{4B8E178C-86A0-45D0-84AA-7E271392E063}" dt="2024-03-03T09:55:07.251" v="323" actId="255"/>
          <ac:spMkLst>
            <pc:docMk/>
            <pc:sldMk cId="4293048775" sldId="378"/>
            <ac:spMk id="7" creationId="{A780BD94-930B-A283-EB2C-FD453118C064}"/>
          </ac:spMkLst>
        </pc:spChg>
        <pc:spChg chg="mod">
          <ac:chgData name="qaulan sakila" userId="b18b7923db98f7e1" providerId="LiveId" clId="{4B8E178C-86A0-45D0-84AA-7E271392E063}" dt="2024-03-03T10:02:58.838" v="371" actId="14100"/>
          <ac:spMkLst>
            <pc:docMk/>
            <pc:sldMk cId="4293048775" sldId="378"/>
            <ac:spMk id="8" creationId="{F0F01DD7-DB34-2394-60B1-9626619FC394}"/>
          </ac:spMkLst>
        </pc:spChg>
      </pc:sldChg>
      <pc:sldChg chg="addSp delSp modSp mod">
        <pc:chgData name="qaulan sakila" userId="b18b7923db98f7e1" providerId="LiveId" clId="{4B8E178C-86A0-45D0-84AA-7E271392E063}" dt="2024-03-03T10:01:42.814" v="365" actId="20577"/>
        <pc:sldMkLst>
          <pc:docMk/>
          <pc:sldMk cId="1675154553" sldId="379"/>
        </pc:sldMkLst>
        <pc:spChg chg="add mod">
          <ac:chgData name="qaulan sakila" userId="b18b7923db98f7e1" providerId="LiveId" clId="{4B8E178C-86A0-45D0-84AA-7E271392E063}" dt="2024-03-03T10:01:42.814" v="365" actId="20577"/>
          <ac:spMkLst>
            <pc:docMk/>
            <pc:sldMk cId="1675154553" sldId="379"/>
            <ac:spMk id="2" creationId="{C89EEA3D-264F-3051-DE8A-09F91F81E293}"/>
          </ac:spMkLst>
        </pc:spChg>
        <pc:spChg chg="mod">
          <ac:chgData name="qaulan sakila" userId="b18b7923db98f7e1" providerId="LiveId" clId="{4B8E178C-86A0-45D0-84AA-7E271392E063}" dt="2024-03-03T09:56:55.571" v="334" actId="1076"/>
          <ac:spMkLst>
            <pc:docMk/>
            <pc:sldMk cId="1675154553" sldId="379"/>
            <ac:spMk id="7" creationId="{D9628778-3A19-43E2-0D45-84A5A5790D49}"/>
          </ac:spMkLst>
        </pc:spChg>
        <pc:spChg chg="add del mod">
          <ac:chgData name="qaulan sakila" userId="b18b7923db98f7e1" providerId="LiveId" clId="{4B8E178C-86A0-45D0-84AA-7E271392E063}" dt="2024-03-03T09:57:23.283" v="338" actId="47"/>
          <ac:spMkLst>
            <pc:docMk/>
            <pc:sldMk cId="1675154553" sldId="379"/>
            <ac:spMk id="8" creationId="{6A97965A-0872-C756-5945-C7EE17112250}"/>
          </ac:spMkLst>
        </pc:spChg>
      </pc:sldChg>
      <pc:sldChg chg="del">
        <pc:chgData name="qaulan sakila" userId="b18b7923db98f7e1" providerId="LiveId" clId="{4B8E178C-86A0-45D0-84AA-7E271392E063}" dt="2024-03-03T09:56:10.560" v="325" actId="47"/>
        <pc:sldMkLst>
          <pc:docMk/>
          <pc:sldMk cId="2293822609" sldId="380"/>
        </pc:sldMkLst>
      </pc:sldChg>
      <pc:sldChg chg="del">
        <pc:chgData name="qaulan sakila" userId="b18b7923db98f7e1" providerId="LiveId" clId="{4B8E178C-86A0-45D0-84AA-7E271392E063}" dt="2024-03-03T10:00:38.147" v="358" actId="47"/>
        <pc:sldMkLst>
          <pc:docMk/>
          <pc:sldMk cId="84688550" sldId="381"/>
        </pc:sldMkLst>
      </pc:sldChg>
      <pc:sldMasterChg chg="delSldLayout">
        <pc:chgData name="qaulan sakila" userId="b18b7923db98f7e1" providerId="LiveId" clId="{4B8E178C-86A0-45D0-84AA-7E271392E063}" dt="2024-03-03T10:03:29.809" v="372" actId="47"/>
        <pc:sldMasterMkLst>
          <pc:docMk/>
          <pc:sldMasterMk cId="2764657770" sldId="2147483655"/>
        </pc:sldMasterMkLst>
        <pc:sldLayoutChg chg="del">
          <pc:chgData name="qaulan sakila" userId="b18b7923db98f7e1" providerId="LiveId" clId="{4B8E178C-86A0-45D0-84AA-7E271392E063}" dt="2024-03-03T10:03:29.809" v="372" actId="47"/>
          <pc:sldLayoutMkLst>
            <pc:docMk/>
            <pc:sldMasterMk cId="2764657770" sldId="2147483655"/>
            <pc:sldLayoutMk cId="613089476" sldId="2147483657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90EAD67-4679-43D8-9BE0-66D3D1453AA4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21850CE-784A-4D6C-9B18-6BB6E02C4943}">
      <dgm:prSet phldrT="[Text]" custT="1"/>
      <dgm:spPr/>
      <dgm:t>
        <a:bodyPr/>
        <a:lstStyle/>
        <a:p>
          <a:r>
            <a:rPr lang="en-US" sz="2000" dirty="0"/>
            <a:t>OUR TEAM</a:t>
          </a:r>
        </a:p>
      </dgm:t>
    </dgm:pt>
    <dgm:pt modelId="{C68C1E08-C090-4CA6-A0E8-F7FEFFDAC298}" type="parTrans" cxnId="{1D709DE7-A8F9-4F35-AA86-7091DB8282A0}">
      <dgm:prSet/>
      <dgm:spPr/>
      <dgm:t>
        <a:bodyPr/>
        <a:lstStyle/>
        <a:p>
          <a:endParaRPr lang="en-US" sz="1600" dirty="0"/>
        </a:p>
      </dgm:t>
    </dgm:pt>
    <dgm:pt modelId="{95A4C75C-0331-4794-8A15-A7AF41EB7A1F}" type="sibTrans" cxnId="{1D709DE7-A8F9-4F35-AA86-7091DB8282A0}">
      <dgm:prSet/>
      <dgm:spPr/>
      <dgm:t>
        <a:bodyPr/>
        <a:lstStyle/>
        <a:p>
          <a:endParaRPr lang="en-US" sz="1600" dirty="0"/>
        </a:p>
      </dgm:t>
    </dgm:pt>
    <dgm:pt modelId="{38708DE4-DBE8-43F6-B22A-7D6C8A053A49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600" dirty="0"/>
            <a:t>QAULAN S USMAN | 6101121004</a:t>
          </a:r>
        </a:p>
      </dgm:t>
    </dgm:pt>
    <dgm:pt modelId="{2D42B922-17B3-48F1-9491-FDE315CE8B75}" type="parTrans" cxnId="{2AF451D9-FD43-40D1-B2C5-7D4CA6DBA10E}">
      <dgm:prSet/>
      <dgm:spPr/>
      <dgm:t>
        <a:bodyPr/>
        <a:lstStyle/>
        <a:p>
          <a:endParaRPr lang="en-US" sz="1600" dirty="0"/>
        </a:p>
      </dgm:t>
    </dgm:pt>
    <dgm:pt modelId="{041CFC29-CA62-4ECA-95EC-2CE18122436F}" type="sibTrans" cxnId="{2AF451D9-FD43-40D1-B2C5-7D4CA6DBA10E}">
      <dgm:prSet/>
      <dgm:spPr/>
      <dgm:t>
        <a:bodyPr/>
        <a:lstStyle/>
        <a:p>
          <a:endParaRPr lang="en-US" sz="1600" dirty="0"/>
        </a:p>
      </dgm:t>
    </dgm:pt>
    <dgm:pt modelId="{2A1916D3-E925-4024-B19B-5C9A3654C692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600" dirty="0"/>
            <a:t>NURYATI TALIB	 | 6101121010</a:t>
          </a:r>
        </a:p>
      </dgm:t>
    </dgm:pt>
    <dgm:pt modelId="{707025BA-A034-4CEA-90B4-9B163914BF1A}" type="parTrans" cxnId="{58C97CED-2FB3-4258-ADCF-27F4B16940DF}">
      <dgm:prSet/>
      <dgm:spPr/>
      <dgm:t>
        <a:bodyPr/>
        <a:lstStyle/>
        <a:p>
          <a:endParaRPr lang="en-US" sz="1600" dirty="0"/>
        </a:p>
      </dgm:t>
    </dgm:pt>
    <dgm:pt modelId="{988CD3C3-20A0-41AA-B018-635800576010}" type="sibTrans" cxnId="{58C97CED-2FB3-4258-ADCF-27F4B16940DF}">
      <dgm:prSet/>
      <dgm:spPr/>
      <dgm:t>
        <a:bodyPr/>
        <a:lstStyle/>
        <a:p>
          <a:endParaRPr lang="en-US" sz="1600" dirty="0"/>
        </a:p>
      </dgm:t>
    </dgm:pt>
    <dgm:pt modelId="{D1D3D30E-28EA-466A-AE8E-84F0A49A1A38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600" dirty="0"/>
            <a:t>FADILA I SANGAJI | 6101121019</a:t>
          </a:r>
        </a:p>
      </dgm:t>
    </dgm:pt>
    <dgm:pt modelId="{D152419B-7D8C-46AB-A12E-5BEFA8972700}" type="parTrans" cxnId="{F160F0ED-F9D1-4A2E-B99B-A11B8B3890C9}">
      <dgm:prSet/>
      <dgm:spPr/>
      <dgm:t>
        <a:bodyPr/>
        <a:lstStyle/>
        <a:p>
          <a:endParaRPr lang="en-US" sz="1600" dirty="0"/>
        </a:p>
      </dgm:t>
    </dgm:pt>
    <dgm:pt modelId="{CA985AC1-AA9A-4CB0-A10D-52B7FC73CFA7}" type="sibTrans" cxnId="{F160F0ED-F9D1-4A2E-B99B-A11B8B3890C9}">
      <dgm:prSet/>
      <dgm:spPr/>
      <dgm:t>
        <a:bodyPr/>
        <a:lstStyle/>
        <a:p>
          <a:endParaRPr lang="en-US" sz="1600" dirty="0"/>
        </a:p>
      </dgm:t>
    </dgm:pt>
    <dgm:pt modelId="{3A51A987-8669-46B5-8A15-DECD0324EB0E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1600" dirty="0"/>
            <a:t>FIRMAN AHMAD | 6101121017</a:t>
          </a:r>
        </a:p>
      </dgm:t>
    </dgm:pt>
    <dgm:pt modelId="{00865A52-69FF-4868-BBA0-C5192692D2B4}" type="parTrans" cxnId="{124B660C-267A-40A1-B389-A5B1E2C49A4C}">
      <dgm:prSet/>
      <dgm:spPr/>
      <dgm:t>
        <a:bodyPr/>
        <a:lstStyle/>
        <a:p>
          <a:endParaRPr lang="en-US" sz="1600" dirty="0"/>
        </a:p>
      </dgm:t>
    </dgm:pt>
    <dgm:pt modelId="{4071BEBF-00E3-4D92-8C67-B9F03B3C9988}" type="sibTrans" cxnId="{124B660C-267A-40A1-B389-A5B1E2C49A4C}">
      <dgm:prSet/>
      <dgm:spPr/>
      <dgm:t>
        <a:bodyPr/>
        <a:lstStyle/>
        <a:p>
          <a:endParaRPr lang="en-US" sz="1600" dirty="0"/>
        </a:p>
      </dgm:t>
    </dgm:pt>
    <dgm:pt modelId="{8FD951BF-C5E1-46D2-AD0C-8FC18602A09A}" type="pres">
      <dgm:prSet presAssocID="{590EAD67-4679-43D8-9BE0-66D3D1453AA4}" presName="vert0" presStyleCnt="0">
        <dgm:presLayoutVars>
          <dgm:dir/>
          <dgm:animOne val="branch"/>
          <dgm:animLvl val="lvl"/>
        </dgm:presLayoutVars>
      </dgm:prSet>
      <dgm:spPr/>
    </dgm:pt>
    <dgm:pt modelId="{B2B0872D-F5A3-4D32-B8AB-0697C2F815C5}" type="pres">
      <dgm:prSet presAssocID="{B21850CE-784A-4D6C-9B18-6BB6E02C4943}" presName="thickLine" presStyleLbl="alignNode1" presStyleIdx="0" presStyleCnt="1"/>
      <dgm:spPr/>
    </dgm:pt>
    <dgm:pt modelId="{64B73C4F-5FD2-40FB-B3D5-E55D40214AAD}" type="pres">
      <dgm:prSet presAssocID="{B21850CE-784A-4D6C-9B18-6BB6E02C4943}" presName="horz1" presStyleCnt="0"/>
      <dgm:spPr/>
    </dgm:pt>
    <dgm:pt modelId="{529B5405-2903-4C0A-AFA8-6EAAC7DA87E7}" type="pres">
      <dgm:prSet presAssocID="{B21850CE-784A-4D6C-9B18-6BB6E02C4943}" presName="tx1" presStyleLbl="revTx" presStyleIdx="0" presStyleCnt="5"/>
      <dgm:spPr/>
    </dgm:pt>
    <dgm:pt modelId="{8C48BF79-62A3-45E3-BA0F-21861248728B}" type="pres">
      <dgm:prSet presAssocID="{B21850CE-784A-4D6C-9B18-6BB6E02C4943}" presName="vert1" presStyleCnt="0"/>
      <dgm:spPr/>
    </dgm:pt>
    <dgm:pt modelId="{71615967-9913-4437-B377-2EF0E1DA309C}" type="pres">
      <dgm:prSet presAssocID="{38708DE4-DBE8-43F6-B22A-7D6C8A053A49}" presName="vertSpace2a" presStyleCnt="0"/>
      <dgm:spPr/>
    </dgm:pt>
    <dgm:pt modelId="{FC2DCF56-41DB-4385-AE3E-02C00577F0DD}" type="pres">
      <dgm:prSet presAssocID="{38708DE4-DBE8-43F6-B22A-7D6C8A053A49}" presName="horz2" presStyleCnt="0"/>
      <dgm:spPr/>
    </dgm:pt>
    <dgm:pt modelId="{DF1B810C-279D-4BE0-B4E6-925830FD9B6C}" type="pres">
      <dgm:prSet presAssocID="{38708DE4-DBE8-43F6-B22A-7D6C8A053A49}" presName="horzSpace2" presStyleCnt="0"/>
      <dgm:spPr/>
    </dgm:pt>
    <dgm:pt modelId="{D915110B-02E4-4B97-8D7E-62666E5FFE55}" type="pres">
      <dgm:prSet presAssocID="{38708DE4-DBE8-43F6-B22A-7D6C8A053A49}" presName="tx2" presStyleLbl="revTx" presStyleIdx="1" presStyleCnt="5"/>
      <dgm:spPr/>
    </dgm:pt>
    <dgm:pt modelId="{91504733-3494-4E9A-9A34-A3BF733B14EA}" type="pres">
      <dgm:prSet presAssocID="{38708DE4-DBE8-43F6-B22A-7D6C8A053A49}" presName="vert2" presStyleCnt="0"/>
      <dgm:spPr/>
    </dgm:pt>
    <dgm:pt modelId="{63A51FA0-F17F-4B8F-AFDC-A802035A5B5F}" type="pres">
      <dgm:prSet presAssocID="{38708DE4-DBE8-43F6-B22A-7D6C8A053A49}" presName="thinLine2b" presStyleLbl="callout" presStyleIdx="0" presStyleCnt="4"/>
      <dgm:spPr/>
    </dgm:pt>
    <dgm:pt modelId="{0D4CEB8A-C1C3-44BC-A442-54196094581F}" type="pres">
      <dgm:prSet presAssocID="{38708DE4-DBE8-43F6-B22A-7D6C8A053A49}" presName="vertSpace2b" presStyleCnt="0"/>
      <dgm:spPr/>
    </dgm:pt>
    <dgm:pt modelId="{FCDE8CBE-24C6-43FC-BE1B-C838D49F8CE7}" type="pres">
      <dgm:prSet presAssocID="{2A1916D3-E925-4024-B19B-5C9A3654C692}" presName="horz2" presStyleCnt="0"/>
      <dgm:spPr/>
    </dgm:pt>
    <dgm:pt modelId="{BC0B61C5-5335-4C56-A049-5950372B15C9}" type="pres">
      <dgm:prSet presAssocID="{2A1916D3-E925-4024-B19B-5C9A3654C692}" presName="horzSpace2" presStyleCnt="0"/>
      <dgm:spPr/>
    </dgm:pt>
    <dgm:pt modelId="{3C364C00-0CD4-41DF-947A-9FE2A1EFA44F}" type="pres">
      <dgm:prSet presAssocID="{2A1916D3-E925-4024-B19B-5C9A3654C692}" presName="tx2" presStyleLbl="revTx" presStyleIdx="2" presStyleCnt="5"/>
      <dgm:spPr/>
    </dgm:pt>
    <dgm:pt modelId="{E5F63EC8-FC93-4CF9-9014-4A280956A296}" type="pres">
      <dgm:prSet presAssocID="{2A1916D3-E925-4024-B19B-5C9A3654C692}" presName="vert2" presStyleCnt="0"/>
      <dgm:spPr/>
    </dgm:pt>
    <dgm:pt modelId="{385A6212-40D8-496A-A2F5-58688F2D80F3}" type="pres">
      <dgm:prSet presAssocID="{2A1916D3-E925-4024-B19B-5C9A3654C692}" presName="thinLine2b" presStyleLbl="callout" presStyleIdx="1" presStyleCnt="4"/>
      <dgm:spPr/>
    </dgm:pt>
    <dgm:pt modelId="{2FE4BE28-882A-43A2-8B4F-20276E744C28}" type="pres">
      <dgm:prSet presAssocID="{2A1916D3-E925-4024-B19B-5C9A3654C692}" presName="vertSpace2b" presStyleCnt="0"/>
      <dgm:spPr/>
    </dgm:pt>
    <dgm:pt modelId="{B003883F-7923-43F8-9980-BA5D8F9B9ECA}" type="pres">
      <dgm:prSet presAssocID="{3A51A987-8669-46B5-8A15-DECD0324EB0E}" presName="horz2" presStyleCnt="0"/>
      <dgm:spPr/>
    </dgm:pt>
    <dgm:pt modelId="{F562DCFF-7849-4649-967B-FBB4580E71E2}" type="pres">
      <dgm:prSet presAssocID="{3A51A987-8669-46B5-8A15-DECD0324EB0E}" presName="horzSpace2" presStyleCnt="0"/>
      <dgm:spPr/>
    </dgm:pt>
    <dgm:pt modelId="{5851C6F9-5BA7-4BDC-8CED-24A05D16E17E}" type="pres">
      <dgm:prSet presAssocID="{3A51A987-8669-46B5-8A15-DECD0324EB0E}" presName="tx2" presStyleLbl="revTx" presStyleIdx="3" presStyleCnt="5"/>
      <dgm:spPr/>
    </dgm:pt>
    <dgm:pt modelId="{942E064B-044B-4FB4-8478-5CA16406FBF8}" type="pres">
      <dgm:prSet presAssocID="{3A51A987-8669-46B5-8A15-DECD0324EB0E}" presName="vert2" presStyleCnt="0"/>
      <dgm:spPr/>
    </dgm:pt>
    <dgm:pt modelId="{E62B3028-E72F-4F88-A8CD-109B14A4FB40}" type="pres">
      <dgm:prSet presAssocID="{3A51A987-8669-46B5-8A15-DECD0324EB0E}" presName="thinLine2b" presStyleLbl="callout" presStyleIdx="2" presStyleCnt="4"/>
      <dgm:spPr/>
    </dgm:pt>
    <dgm:pt modelId="{5C01DD89-1FA9-45DF-A329-8FD2B7F1211C}" type="pres">
      <dgm:prSet presAssocID="{3A51A987-8669-46B5-8A15-DECD0324EB0E}" presName="vertSpace2b" presStyleCnt="0"/>
      <dgm:spPr/>
    </dgm:pt>
    <dgm:pt modelId="{6C644C10-B22B-404B-ACA3-DD48EA100689}" type="pres">
      <dgm:prSet presAssocID="{D1D3D30E-28EA-466A-AE8E-84F0A49A1A38}" presName="horz2" presStyleCnt="0"/>
      <dgm:spPr/>
    </dgm:pt>
    <dgm:pt modelId="{62D1128B-3F4D-4D26-AED2-6CB4852587AB}" type="pres">
      <dgm:prSet presAssocID="{D1D3D30E-28EA-466A-AE8E-84F0A49A1A38}" presName="horzSpace2" presStyleCnt="0"/>
      <dgm:spPr/>
    </dgm:pt>
    <dgm:pt modelId="{1839D2EF-ABAA-4B48-B1AB-FCFD1C6ECB24}" type="pres">
      <dgm:prSet presAssocID="{D1D3D30E-28EA-466A-AE8E-84F0A49A1A38}" presName="tx2" presStyleLbl="revTx" presStyleIdx="4" presStyleCnt="5"/>
      <dgm:spPr/>
    </dgm:pt>
    <dgm:pt modelId="{44AC9353-0039-4CEC-8BC4-44E483EA9ACF}" type="pres">
      <dgm:prSet presAssocID="{D1D3D30E-28EA-466A-AE8E-84F0A49A1A38}" presName="vert2" presStyleCnt="0"/>
      <dgm:spPr/>
    </dgm:pt>
    <dgm:pt modelId="{E3AD5F5D-5B7F-4875-A213-B692951CF4CA}" type="pres">
      <dgm:prSet presAssocID="{D1D3D30E-28EA-466A-AE8E-84F0A49A1A38}" presName="thinLine2b" presStyleLbl="callout" presStyleIdx="3" presStyleCnt="4"/>
      <dgm:spPr/>
    </dgm:pt>
    <dgm:pt modelId="{0E4D08FF-4011-4E75-81D0-38B053942006}" type="pres">
      <dgm:prSet presAssocID="{D1D3D30E-28EA-466A-AE8E-84F0A49A1A38}" presName="vertSpace2b" presStyleCnt="0"/>
      <dgm:spPr/>
    </dgm:pt>
  </dgm:ptLst>
  <dgm:cxnLst>
    <dgm:cxn modelId="{24EC2C08-D9F5-4DBC-93FA-17206974C782}" type="presOf" srcId="{3A51A987-8669-46B5-8A15-DECD0324EB0E}" destId="{5851C6F9-5BA7-4BDC-8CED-24A05D16E17E}" srcOrd="0" destOrd="0" presId="urn:microsoft.com/office/officeart/2008/layout/LinedList"/>
    <dgm:cxn modelId="{124B660C-267A-40A1-B389-A5B1E2C49A4C}" srcId="{B21850CE-784A-4D6C-9B18-6BB6E02C4943}" destId="{3A51A987-8669-46B5-8A15-DECD0324EB0E}" srcOrd="2" destOrd="0" parTransId="{00865A52-69FF-4868-BBA0-C5192692D2B4}" sibTransId="{4071BEBF-00E3-4D92-8C67-B9F03B3C9988}"/>
    <dgm:cxn modelId="{B818BC15-347E-41E3-A37D-BFE6EA6E539F}" type="presOf" srcId="{D1D3D30E-28EA-466A-AE8E-84F0A49A1A38}" destId="{1839D2EF-ABAA-4B48-B1AB-FCFD1C6ECB24}" srcOrd="0" destOrd="0" presId="urn:microsoft.com/office/officeart/2008/layout/LinedList"/>
    <dgm:cxn modelId="{52C7641C-C973-40DB-88C2-47DF85A89FD3}" type="presOf" srcId="{590EAD67-4679-43D8-9BE0-66D3D1453AA4}" destId="{8FD951BF-C5E1-46D2-AD0C-8FC18602A09A}" srcOrd="0" destOrd="0" presId="urn:microsoft.com/office/officeart/2008/layout/LinedList"/>
    <dgm:cxn modelId="{C0229A3F-1053-4E0D-8B0D-620F69154B77}" type="presOf" srcId="{B21850CE-784A-4D6C-9B18-6BB6E02C4943}" destId="{529B5405-2903-4C0A-AFA8-6EAAC7DA87E7}" srcOrd="0" destOrd="0" presId="urn:microsoft.com/office/officeart/2008/layout/LinedList"/>
    <dgm:cxn modelId="{30D35D7C-592B-4A24-A193-8647D697D95F}" type="presOf" srcId="{2A1916D3-E925-4024-B19B-5C9A3654C692}" destId="{3C364C00-0CD4-41DF-947A-9FE2A1EFA44F}" srcOrd="0" destOrd="0" presId="urn:microsoft.com/office/officeart/2008/layout/LinedList"/>
    <dgm:cxn modelId="{ED56E696-5BC8-47A8-80B4-EAE136939FEF}" type="presOf" srcId="{38708DE4-DBE8-43F6-B22A-7D6C8A053A49}" destId="{D915110B-02E4-4B97-8D7E-62666E5FFE55}" srcOrd="0" destOrd="0" presId="urn:microsoft.com/office/officeart/2008/layout/LinedList"/>
    <dgm:cxn modelId="{2AF451D9-FD43-40D1-B2C5-7D4CA6DBA10E}" srcId="{B21850CE-784A-4D6C-9B18-6BB6E02C4943}" destId="{38708DE4-DBE8-43F6-B22A-7D6C8A053A49}" srcOrd="0" destOrd="0" parTransId="{2D42B922-17B3-48F1-9491-FDE315CE8B75}" sibTransId="{041CFC29-CA62-4ECA-95EC-2CE18122436F}"/>
    <dgm:cxn modelId="{1D709DE7-A8F9-4F35-AA86-7091DB8282A0}" srcId="{590EAD67-4679-43D8-9BE0-66D3D1453AA4}" destId="{B21850CE-784A-4D6C-9B18-6BB6E02C4943}" srcOrd="0" destOrd="0" parTransId="{C68C1E08-C090-4CA6-A0E8-F7FEFFDAC298}" sibTransId="{95A4C75C-0331-4794-8A15-A7AF41EB7A1F}"/>
    <dgm:cxn modelId="{58C97CED-2FB3-4258-ADCF-27F4B16940DF}" srcId="{B21850CE-784A-4D6C-9B18-6BB6E02C4943}" destId="{2A1916D3-E925-4024-B19B-5C9A3654C692}" srcOrd="1" destOrd="0" parTransId="{707025BA-A034-4CEA-90B4-9B163914BF1A}" sibTransId="{988CD3C3-20A0-41AA-B018-635800576010}"/>
    <dgm:cxn modelId="{F160F0ED-F9D1-4A2E-B99B-A11B8B3890C9}" srcId="{B21850CE-784A-4D6C-9B18-6BB6E02C4943}" destId="{D1D3D30E-28EA-466A-AE8E-84F0A49A1A38}" srcOrd="3" destOrd="0" parTransId="{D152419B-7D8C-46AB-A12E-5BEFA8972700}" sibTransId="{CA985AC1-AA9A-4CB0-A10D-52B7FC73CFA7}"/>
    <dgm:cxn modelId="{A06990B7-30CA-4BD3-A89B-AC4F743697AF}" type="presParOf" srcId="{8FD951BF-C5E1-46D2-AD0C-8FC18602A09A}" destId="{B2B0872D-F5A3-4D32-B8AB-0697C2F815C5}" srcOrd="0" destOrd="0" presId="urn:microsoft.com/office/officeart/2008/layout/LinedList"/>
    <dgm:cxn modelId="{C3EB61D5-EA0F-4324-AFDB-913B88D32713}" type="presParOf" srcId="{8FD951BF-C5E1-46D2-AD0C-8FC18602A09A}" destId="{64B73C4F-5FD2-40FB-B3D5-E55D40214AAD}" srcOrd="1" destOrd="0" presId="urn:microsoft.com/office/officeart/2008/layout/LinedList"/>
    <dgm:cxn modelId="{3266D8CA-3D80-4563-9818-906349495890}" type="presParOf" srcId="{64B73C4F-5FD2-40FB-B3D5-E55D40214AAD}" destId="{529B5405-2903-4C0A-AFA8-6EAAC7DA87E7}" srcOrd="0" destOrd="0" presId="urn:microsoft.com/office/officeart/2008/layout/LinedList"/>
    <dgm:cxn modelId="{97AA91D4-F4FC-4897-9E35-9139C7E8E86A}" type="presParOf" srcId="{64B73C4F-5FD2-40FB-B3D5-E55D40214AAD}" destId="{8C48BF79-62A3-45E3-BA0F-21861248728B}" srcOrd="1" destOrd="0" presId="urn:microsoft.com/office/officeart/2008/layout/LinedList"/>
    <dgm:cxn modelId="{9B8BE94A-BAC1-43EB-A5DE-5A82581D92B5}" type="presParOf" srcId="{8C48BF79-62A3-45E3-BA0F-21861248728B}" destId="{71615967-9913-4437-B377-2EF0E1DA309C}" srcOrd="0" destOrd="0" presId="urn:microsoft.com/office/officeart/2008/layout/LinedList"/>
    <dgm:cxn modelId="{D5F2001C-4BC5-4641-BB4E-493BD966BDAC}" type="presParOf" srcId="{8C48BF79-62A3-45E3-BA0F-21861248728B}" destId="{FC2DCF56-41DB-4385-AE3E-02C00577F0DD}" srcOrd="1" destOrd="0" presId="urn:microsoft.com/office/officeart/2008/layout/LinedList"/>
    <dgm:cxn modelId="{A6E64E47-2643-4019-8090-2065C2CCAD96}" type="presParOf" srcId="{FC2DCF56-41DB-4385-AE3E-02C00577F0DD}" destId="{DF1B810C-279D-4BE0-B4E6-925830FD9B6C}" srcOrd="0" destOrd="0" presId="urn:microsoft.com/office/officeart/2008/layout/LinedList"/>
    <dgm:cxn modelId="{93040DBD-FF01-4EDE-8A5D-D36830711092}" type="presParOf" srcId="{FC2DCF56-41DB-4385-AE3E-02C00577F0DD}" destId="{D915110B-02E4-4B97-8D7E-62666E5FFE55}" srcOrd="1" destOrd="0" presId="urn:microsoft.com/office/officeart/2008/layout/LinedList"/>
    <dgm:cxn modelId="{E542BA6C-39CC-4690-A118-444751FEAF35}" type="presParOf" srcId="{FC2DCF56-41DB-4385-AE3E-02C00577F0DD}" destId="{91504733-3494-4E9A-9A34-A3BF733B14EA}" srcOrd="2" destOrd="0" presId="urn:microsoft.com/office/officeart/2008/layout/LinedList"/>
    <dgm:cxn modelId="{6457FE38-14A3-45E2-8765-1C9E5E8E69FA}" type="presParOf" srcId="{8C48BF79-62A3-45E3-BA0F-21861248728B}" destId="{63A51FA0-F17F-4B8F-AFDC-A802035A5B5F}" srcOrd="2" destOrd="0" presId="urn:microsoft.com/office/officeart/2008/layout/LinedList"/>
    <dgm:cxn modelId="{0A971022-0E86-4353-B6F3-088E5E43405F}" type="presParOf" srcId="{8C48BF79-62A3-45E3-BA0F-21861248728B}" destId="{0D4CEB8A-C1C3-44BC-A442-54196094581F}" srcOrd="3" destOrd="0" presId="urn:microsoft.com/office/officeart/2008/layout/LinedList"/>
    <dgm:cxn modelId="{8F2DFE18-DD0C-4DD3-877B-4559ECDDE807}" type="presParOf" srcId="{8C48BF79-62A3-45E3-BA0F-21861248728B}" destId="{FCDE8CBE-24C6-43FC-BE1B-C838D49F8CE7}" srcOrd="4" destOrd="0" presId="urn:microsoft.com/office/officeart/2008/layout/LinedList"/>
    <dgm:cxn modelId="{A865B80D-5C1B-44E2-9BAC-A6D05768FD92}" type="presParOf" srcId="{FCDE8CBE-24C6-43FC-BE1B-C838D49F8CE7}" destId="{BC0B61C5-5335-4C56-A049-5950372B15C9}" srcOrd="0" destOrd="0" presId="urn:microsoft.com/office/officeart/2008/layout/LinedList"/>
    <dgm:cxn modelId="{36569934-42F5-4927-AD98-0F2497182353}" type="presParOf" srcId="{FCDE8CBE-24C6-43FC-BE1B-C838D49F8CE7}" destId="{3C364C00-0CD4-41DF-947A-9FE2A1EFA44F}" srcOrd="1" destOrd="0" presId="urn:microsoft.com/office/officeart/2008/layout/LinedList"/>
    <dgm:cxn modelId="{55B20BF5-3B5D-4CA6-974D-291B8A944F92}" type="presParOf" srcId="{FCDE8CBE-24C6-43FC-BE1B-C838D49F8CE7}" destId="{E5F63EC8-FC93-4CF9-9014-4A280956A296}" srcOrd="2" destOrd="0" presId="urn:microsoft.com/office/officeart/2008/layout/LinedList"/>
    <dgm:cxn modelId="{945F4CED-FEB6-476E-8A55-6F18021B0558}" type="presParOf" srcId="{8C48BF79-62A3-45E3-BA0F-21861248728B}" destId="{385A6212-40D8-496A-A2F5-58688F2D80F3}" srcOrd="5" destOrd="0" presId="urn:microsoft.com/office/officeart/2008/layout/LinedList"/>
    <dgm:cxn modelId="{DD8BB108-F889-42A4-9416-560C3822E57E}" type="presParOf" srcId="{8C48BF79-62A3-45E3-BA0F-21861248728B}" destId="{2FE4BE28-882A-43A2-8B4F-20276E744C28}" srcOrd="6" destOrd="0" presId="urn:microsoft.com/office/officeart/2008/layout/LinedList"/>
    <dgm:cxn modelId="{9C62F064-AA3D-4A9B-B4D9-903860CBB9B4}" type="presParOf" srcId="{8C48BF79-62A3-45E3-BA0F-21861248728B}" destId="{B003883F-7923-43F8-9980-BA5D8F9B9ECA}" srcOrd="7" destOrd="0" presId="urn:microsoft.com/office/officeart/2008/layout/LinedList"/>
    <dgm:cxn modelId="{284EDF99-FCF0-41E3-A7DE-69D00DFF3817}" type="presParOf" srcId="{B003883F-7923-43F8-9980-BA5D8F9B9ECA}" destId="{F562DCFF-7849-4649-967B-FBB4580E71E2}" srcOrd="0" destOrd="0" presId="urn:microsoft.com/office/officeart/2008/layout/LinedList"/>
    <dgm:cxn modelId="{0BE7A319-70C2-411A-877E-F90215F0D3E9}" type="presParOf" srcId="{B003883F-7923-43F8-9980-BA5D8F9B9ECA}" destId="{5851C6F9-5BA7-4BDC-8CED-24A05D16E17E}" srcOrd="1" destOrd="0" presId="urn:microsoft.com/office/officeart/2008/layout/LinedList"/>
    <dgm:cxn modelId="{CFF5F2B8-89A4-4AA5-B2A1-3E8C0BD2183A}" type="presParOf" srcId="{B003883F-7923-43F8-9980-BA5D8F9B9ECA}" destId="{942E064B-044B-4FB4-8478-5CA16406FBF8}" srcOrd="2" destOrd="0" presId="urn:microsoft.com/office/officeart/2008/layout/LinedList"/>
    <dgm:cxn modelId="{49CD5839-8F22-4507-89FB-894E03915970}" type="presParOf" srcId="{8C48BF79-62A3-45E3-BA0F-21861248728B}" destId="{E62B3028-E72F-4F88-A8CD-109B14A4FB40}" srcOrd="8" destOrd="0" presId="urn:microsoft.com/office/officeart/2008/layout/LinedList"/>
    <dgm:cxn modelId="{3ABEB36A-8070-42D8-B37F-18F6EBA9A900}" type="presParOf" srcId="{8C48BF79-62A3-45E3-BA0F-21861248728B}" destId="{5C01DD89-1FA9-45DF-A329-8FD2B7F1211C}" srcOrd="9" destOrd="0" presId="urn:microsoft.com/office/officeart/2008/layout/LinedList"/>
    <dgm:cxn modelId="{C25A0478-3A9A-4E3D-B82C-D8430147509B}" type="presParOf" srcId="{8C48BF79-62A3-45E3-BA0F-21861248728B}" destId="{6C644C10-B22B-404B-ACA3-DD48EA100689}" srcOrd="10" destOrd="0" presId="urn:microsoft.com/office/officeart/2008/layout/LinedList"/>
    <dgm:cxn modelId="{3BD6EED9-A7C3-4721-83ED-8FCFBCA29430}" type="presParOf" srcId="{6C644C10-B22B-404B-ACA3-DD48EA100689}" destId="{62D1128B-3F4D-4D26-AED2-6CB4852587AB}" srcOrd="0" destOrd="0" presId="urn:microsoft.com/office/officeart/2008/layout/LinedList"/>
    <dgm:cxn modelId="{B6BBD22E-E36E-4252-B2B6-DB942FF5B606}" type="presParOf" srcId="{6C644C10-B22B-404B-ACA3-DD48EA100689}" destId="{1839D2EF-ABAA-4B48-B1AB-FCFD1C6ECB24}" srcOrd="1" destOrd="0" presId="urn:microsoft.com/office/officeart/2008/layout/LinedList"/>
    <dgm:cxn modelId="{772EED79-E148-44CC-9DE6-B2B289A78708}" type="presParOf" srcId="{6C644C10-B22B-404B-ACA3-DD48EA100689}" destId="{44AC9353-0039-4CEC-8BC4-44E483EA9ACF}" srcOrd="2" destOrd="0" presId="urn:microsoft.com/office/officeart/2008/layout/LinedList"/>
    <dgm:cxn modelId="{6B87D51E-44C2-41E0-A88B-29C43446E6FC}" type="presParOf" srcId="{8C48BF79-62A3-45E3-BA0F-21861248728B}" destId="{E3AD5F5D-5B7F-4875-A213-B692951CF4CA}" srcOrd="11" destOrd="0" presId="urn:microsoft.com/office/officeart/2008/layout/LinedList"/>
    <dgm:cxn modelId="{BF936C7E-2A81-47BE-9C50-5B3E21DA804F}" type="presParOf" srcId="{8C48BF79-62A3-45E3-BA0F-21861248728B}" destId="{0E4D08FF-4011-4E75-81D0-38B053942006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B0872D-F5A3-4D32-B8AB-0697C2F815C5}">
      <dsp:nvSpPr>
        <dsp:cNvPr id="0" name=""/>
        <dsp:cNvSpPr/>
      </dsp:nvSpPr>
      <dsp:spPr>
        <a:xfrm>
          <a:off x="0" y="0"/>
          <a:ext cx="440191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9B5405-2903-4C0A-AFA8-6EAAC7DA87E7}">
      <dsp:nvSpPr>
        <dsp:cNvPr id="0" name=""/>
        <dsp:cNvSpPr/>
      </dsp:nvSpPr>
      <dsp:spPr>
        <a:xfrm>
          <a:off x="0" y="0"/>
          <a:ext cx="880383" cy="28145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OUR TEAM</a:t>
          </a:r>
        </a:p>
      </dsp:txBody>
      <dsp:txXfrm>
        <a:off x="0" y="0"/>
        <a:ext cx="880383" cy="2814598"/>
      </dsp:txXfrm>
    </dsp:sp>
    <dsp:sp modelId="{D915110B-02E4-4B97-8D7E-62666E5FFE55}">
      <dsp:nvSpPr>
        <dsp:cNvPr id="0" name=""/>
        <dsp:cNvSpPr/>
      </dsp:nvSpPr>
      <dsp:spPr>
        <a:xfrm>
          <a:off x="946411" y="33086"/>
          <a:ext cx="3455503" cy="6617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QAULAN S USMAN | 6101121004</a:t>
          </a:r>
        </a:p>
      </dsp:txBody>
      <dsp:txXfrm>
        <a:off x="946411" y="33086"/>
        <a:ext cx="3455503" cy="661733"/>
      </dsp:txXfrm>
    </dsp:sp>
    <dsp:sp modelId="{63A51FA0-F17F-4B8F-AFDC-A802035A5B5F}">
      <dsp:nvSpPr>
        <dsp:cNvPr id="0" name=""/>
        <dsp:cNvSpPr/>
      </dsp:nvSpPr>
      <dsp:spPr>
        <a:xfrm>
          <a:off x="880383" y="694819"/>
          <a:ext cx="35215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364C00-0CD4-41DF-947A-9FE2A1EFA44F}">
      <dsp:nvSpPr>
        <dsp:cNvPr id="0" name=""/>
        <dsp:cNvSpPr/>
      </dsp:nvSpPr>
      <dsp:spPr>
        <a:xfrm>
          <a:off x="946411" y="727906"/>
          <a:ext cx="3455503" cy="6617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NURYATI TALIB	 | 6101121010</a:t>
          </a:r>
        </a:p>
      </dsp:txBody>
      <dsp:txXfrm>
        <a:off x="946411" y="727906"/>
        <a:ext cx="3455503" cy="661733"/>
      </dsp:txXfrm>
    </dsp:sp>
    <dsp:sp modelId="{385A6212-40D8-496A-A2F5-58688F2D80F3}">
      <dsp:nvSpPr>
        <dsp:cNvPr id="0" name=""/>
        <dsp:cNvSpPr/>
      </dsp:nvSpPr>
      <dsp:spPr>
        <a:xfrm>
          <a:off x="880383" y="1389639"/>
          <a:ext cx="35215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51C6F9-5BA7-4BDC-8CED-24A05D16E17E}">
      <dsp:nvSpPr>
        <dsp:cNvPr id="0" name=""/>
        <dsp:cNvSpPr/>
      </dsp:nvSpPr>
      <dsp:spPr>
        <a:xfrm>
          <a:off x="946411" y="1422726"/>
          <a:ext cx="3455503" cy="6617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FIRMAN AHMAD | 6101121017</a:t>
          </a:r>
        </a:p>
      </dsp:txBody>
      <dsp:txXfrm>
        <a:off x="946411" y="1422726"/>
        <a:ext cx="3455503" cy="661733"/>
      </dsp:txXfrm>
    </dsp:sp>
    <dsp:sp modelId="{E62B3028-E72F-4F88-A8CD-109B14A4FB40}">
      <dsp:nvSpPr>
        <dsp:cNvPr id="0" name=""/>
        <dsp:cNvSpPr/>
      </dsp:nvSpPr>
      <dsp:spPr>
        <a:xfrm>
          <a:off x="880383" y="2084459"/>
          <a:ext cx="35215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39D2EF-ABAA-4B48-B1AB-FCFD1C6ECB24}">
      <dsp:nvSpPr>
        <dsp:cNvPr id="0" name=""/>
        <dsp:cNvSpPr/>
      </dsp:nvSpPr>
      <dsp:spPr>
        <a:xfrm>
          <a:off x="946411" y="2117545"/>
          <a:ext cx="3455503" cy="6617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FADILA I SANGAJI | 6101121019</a:t>
          </a:r>
        </a:p>
      </dsp:txBody>
      <dsp:txXfrm>
        <a:off x="946411" y="2117545"/>
        <a:ext cx="3455503" cy="661733"/>
      </dsp:txXfrm>
    </dsp:sp>
    <dsp:sp modelId="{E3AD5F5D-5B7F-4875-A213-B692951CF4CA}">
      <dsp:nvSpPr>
        <dsp:cNvPr id="0" name=""/>
        <dsp:cNvSpPr/>
      </dsp:nvSpPr>
      <dsp:spPr>
        <a:xfrm>
          <a:off x="880383" y="2779279"/>
          <a:ext cx="35215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3/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3/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483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70016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497407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0453070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4904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D84867-9356-2D9E-0A56-0FC3A164A8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33F159-CF7D-438C-A977-C9642F9FD8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76149E-D838-4667-BA4A-EF79D79C12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F4073D-95FE-D799-15F6-9AEC46DFA8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070838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92319-227A-77D5-21F8-5A81DF794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A8120F-4D89-013B-0B0B-E4B125ABE3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8E6DF4-5C5A-EFD8-E86C-6F5AE714CA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89BC4C-BE1C-65A3-DCA5-DDA3AB6EE9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420740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EF63E2-ABD0-B437-3B79-576796F7EE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82F6D5-3CFF-7FFA-87E5-F438BB35F7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8EEA3C-3809-CD74-B4F6-68E81A8133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74064C-5FAE-66FE-FC78-0B0AF87844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200551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210942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331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posición de imagen 7"/>
          <p:cNvSpPr>
            <a:spLocks noGrp="1"/>
          </p:cNvSpPr>
          <p:nvPr>
            <p:ph type="pic" sz="quarter" idx="10"/>
          </p:nvPr>
        </p:nvSpPr>
        <p:spPr>
          <a:xfrm>
            <a:off x="0" y="1040872"/>
            <a:ext cx="12192000" cy="5419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56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6D399-AF62-AF25-3B64-43596AD764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9C2FE5-999E-EA1E-00A5-5B3C2E99C8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2F240D-4B32-C7D0-10F0-4608DFEE4E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5CAA1B-2AD2-4F78-AF3E-DB62FE4FE79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705DFD-5DCF-CC88-A336-B1E80A374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70910F-5D65-8F87-6118-89A7CCD2C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8111C2-72E3-481D-A150-8027CA739B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74864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2.pn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2037D5-9F9A-4CC9-98B0-68BDD36B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51" imgH="450" progId="TCLayout.ActiveDocument.1">
                  <p:embed/>
                </p:oleObj>
              </mc:Choice>
              <mc:Fallback>
                <p:oleObj name="think-cell Slide" r:id="rId8" imgW="451" imgH="45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2037D5-9F9A-4CC9-98B0-68BDD36B0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612F5A-FB47-481F-9DE2-4A75D564380A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3/3/2024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17BCDC7-33E6-4E0D-8470-BD003682192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custDataLst>
      <p:tags r:id="rId5"/>
    </p:custDataLst>
    <p:extLst>
      <p:ext uri="{BB962C8B-B14F-4D97-AF65-F5344CB8AC3E}">
        <p14:creationId xmlns:p14="http://schemas.microsoft.com/office/powerpoint/2010/main" val="27646577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4" r:id="rId1"/>
    <p:sldLayoutId id="2147483656" r:id="rId2"/>
    <p:sldLayoutId id="2147483660" r:id="rId3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 userDrawn="1">
          <p15:clr>
            <a:srgbClr val="C35EA4"/>
          </p15:clr>
        </p15:guide>
        <p15:guide id="2" pos="7328" userDrawn="1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DDDF5F-6B7B-E8DC-742E-F94D4B717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2AB0ED-2DA2-58E8-BDCF-2EE5569BDB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6C0806-D8E3-A66E-FDC7-EED2E4B223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5CAA1B-2AD2-4F78-AF3E-DB62FE4FE798}" type="datetimeFigureOut">
              <a:rPr lang="en-US" smtClean="0"/>
              <a:t>3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0F554C-6BE5-1524-8F65-7DCFF2CDE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F5F0F1-9C44-CC46-8BC8-8372F09A48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8111C2-72E3-481D-A150-8027CA739B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142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microsoft.com/office/2007/relationships/media" Target="../media/media1.mp3"/><Relationship Id="rId1" Type="http://schemas.openxmlformats.org/officeDocument/2006/relationships/audio" Target="NULL" TargetMode="External"/><Relationship Id="rId5" Type="http://schemas.openxmlformats.org/officeDocument/2006/relationships/image" Target="../media/image4.png"/><Relationship Id="rId4" Type="http://schemas.openxmlformats.org/officeDocument/2006/relationships/image" Target="../media/image3.gi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13" Type="http://schemas.openxmlformats.org/officeDocument/2006/relationships/image" Target="../media/image30.svg"/><Relationship Id="rId3" Type="http://schemas.openxmlformats.org/officeDocument/2006/relationships/image" Target="../media/image26.svg"/><Relationship Id="rId7" Type="http://schemas.openxmlformats.org/officeDocument/2006/relationships/image" Target="../media/image20.jpg"/><Relationship Id="rId12" Type="http://schemas.openxmlformats.org/officeDocument/2006/relationships/image" Target="../media/image2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jpg"/><Relationship Id="rId11" Type="http://schemas.openxmlformats.org/officeDocument/2006/relationships/image" Target="../media/image24.jpg"/><Relationship Id="rId5" Type="http://schemas.openxmlformats.org/officeDocument/2006/relationships/image" Target="../media/image28.svg"/><Relationship Id="rId10" Type="http://schemas.openxmlformats.org/officeDocument/2006/relationships/image" Target="../media/image23.jpg"/><Relationship Id="rId4" Type="http://schemas.openxmlformats.org/officeDocument/2006/relationships/image" Target="../media/image27.png"/><Relationship Id="rId9" Type="http://schemas.openxmlformats.org/officeDocument/2006/relationships/image" Target="../media/image22.jpg"/><Relationship Id="rId14" Type="http://schemas.openxmlformats.org/officeDocument/2006/relationships/image" Target="../media/image31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3" Type="http://schemas.openxmlformats.org/officeDocument/2006/relationships/image" Target="../media/image33.svg"/><Relationship Id="rId7" Type="http://schemas.openxmlformats.org/officeDocument/2006/relationships/image" Target="../media/image20.jpg"/><Relationship Id="rId12" Type="http://schemas.openxmlformats.org/officeDocument/2006/relationships/image" Target="../media/image31.jp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jpg"/><Relationship Id="rId11" Type="http://schemas.openxmlformats.org/officeDocument/2006/relationships/image" Target="../media/image24.jpg"/><Relationship Id="rId5" Type="http://schemas.openxmlformats.org/officeDocument/2006/relationships/image" Target="../media/image35.svg"/><Relationship Id="rId10" Type="http://schemas.openxmlformats.org/officeDocument/2006/relationships/image" Target="../media/image23.jpg"/><Relationship Id="rId4" Type="http://schemas.openxmlformats.org/officeDocument/2006/relationships/image" Target="../media/image34.png"/><Relationship Id="rId9" Type="http://schemas.openxmlformats.org/officeDocument/2006/relationships/image" Target="../media/image22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18" Type="http://schemas.openxmlformats.org/officeDocument/2006/relationships/image" Target="../media/image21.jpg"/><Relationship Id="rId3" Type="http://schemas.openxmlformats.org/officeDocument/2006/relationships/image" Target="../media/image37.svg"/><Relationship Id="rId21" Type="http://schemas.openxmlformats.org/officeDocument/2006/relationships/image" Target="../media/image24.jpg"/><Relationship Id="rId7" Type="http://schemas.openxmlformats.org/officeDocument/2006/relationships/image" Target="../media/image41.svg"/><Relationship Id="rId12" Type="http://schemas.openxmlformats.org/officeDocument/2006/relationships/image" Target="../media/image46.png"/><Relationship Id="rId17" Type="http://schemas.openxmlformats.org/officeDocument/2006/relationships/image" Target="../media/image20.jpg"/><Relationship Id="rId2" Type="http://schemas.openxmlformats.org/officeDocument/2006/relationships/image" Target="../media/image36.png"/><Relationship Id="rId16" Type="http://schemas.openxmlformats.org/officeDocument/2006/relationships/image" Target="../media/image19.jpg"/><Relationship Id="rId20" Type="http://schemas.openxmlformats.org/officeDocument/2006/relationships/image" Target="../media/image23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24" Type="http://schemas.openxmlformats.org/officeDocument/2006/relationships/image" Target="../media/image31.jpg"/><Relationship Id="rId5" Type="http://schemas.openxmlformats.org/officeDocument/2006/relationships/image" Target="../media/image39.svg"/><Relationship Id="rId15" Type="http://schemas.openxmlformats.org/officeDocument/2006/relationships/image" Target="../media/image33.svg"/><Relationship Id="rId23" Type="http://schemas.openxmlformats.org/officeDocument/2006/relationships/image" Target="../media/image35.svg"/><Relationship Id="rId10" Type="http://schemas.openxmlformats.org/officeDocument/2006/relationships/image" Target="../media/image44.png"/><Relationship Id="rId19" Type="http://schemas.openxmlformats.org/officeDocument/2006/relationships/image" Target="../media/image22.jpg"/><Relationship Id="rId4" Type="http://schemas.openxmlformats.org/officeDocument/2006/relationships/image" Target="../media/image38.png"/><Relationship Id="rId9" Type="http://schemas.openxmlformats.org/officeDocument/2006/relationships/image" Target="../media/image43.svg"/><Relationship Id="rId14" Type="http://schemas.openxmlformats.org/officeDocument/2006/relationships/image" Target="../media/image32.png"/><Relationship Id="rId22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pxhere.com/en/photo/534193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8.jp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10" Type="http://schemas.openxmlformats.org/officeDocument/2006/relationships/hyperlink" Target="https://www.pexels.com/photo/photo-of-ocean-during-sunset-3651752/" TargetMode="External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9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hyperlink" Target="https://www.pexels.com/photo/photo-of-ocean-during-sunset-3651752/" TargetMode="External"/><Relationship Id="rId5" Type="http://schemas.openxmlformats.org/officeDocument/2006/relationships/image" Target="../media/image49.jpg"/><Relationship Id="rId10" Type="http://schemas.openxmlformats.org/officeDocument/2006/relationships/hyperlink" Target="https://pxhere.com/en/photo/534193" TargetMode="External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8.jp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8" Type="http://schemas.openxmlformats.org/officeDocument/2006/relationships/slide" Target="slide3.xml"/><Relationship Id="rId26" Type="http://schemas.openxmlformats.org/officeDocument/2006/relationships/diagramLayout" Target="../diagrams/layout1.xml"/><Relationship Id="rId3" Type="http://schemas.openxmlformats.org/officeDocument/2006/relationships/tags" Target="../tags/tag9.xml"/><Relationship Id="rId21" Type="http://schemas.openxmlformats.org/officeDocument/2006/relationships/slide" Target="slide5.xml"/><Relationship Id="rId7" Type="http://schemas.openxmlformats.org/officeDocument/2006/relationships/image" Target="../media/image5.emf"/><Relationship Id="rId17" Type="http://schemas.openxmlformats.org/officeDocument/2006/relationships/image" Target="../media/image9.png"/><Relationship Id="rId25" Type="http://schemas.openxmlformats.org/officeDocument/2006/relationships/diagramData" Target="../diagrams/data1.xml"/><Relationship Id="rId2" Type="http://schemas.openxmlformats.org/officeDocument/2006/relationships/tags" Target="../tags/tag8.xml"/><Relationship Id="rId16" Type="http://schemas.openxmlformats.org/officeDocument/2006/relationships/image" Target="../media/image8.png"/><Relationship Id="rId20" Type="http://schemas.openxmlformats.org/officeDocument/2006/relationships/image" Target="../media/image10.png"/><Relationship Id="rId29" Type="http://schemas.microsoft.com/office/2007/relationships/diagramDrawing" Target="../diagrams/drawing1.xml"/><Relationship Id="rId1" Type="http://schemas.openxmlformats.org/officeDocument/2006/relationships/tags" Target="../tags/tag7.xml"/><Relationship Id="rId6" Type="http://schemas.openxmlformats.org/officeDocument/2006/relationships/oleObject" Target="../embeddings/oleObject2.bin"/><Relationship Id="rId24" Type="http://schemas.openxmlformats.org/officeDocument/2006/relationships/slide" Target="slide13.xml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8.png"/><Relationship Id="rId23" Type="http://schemas.openxmlformats.org/officeDocument/2006/relationships/image" Target="../media/image11.png"/><Relationship Id="rId28" Type="http://schemas.openxmlformats.org/officeDocument/2006/relationships/diagramColors" Target="../diagrams/colors1.xml"/><Relationship Id="rId10" Type="http://schemas.openxmlformats.org/officeDocument/2006/relationships/image" Target="../media/image7.png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2.xml"/><Relationship Id="rId9" Type="http://schemas.openxmlformats.org/officeDocument/2006/relationships/slide" Target="slide9.xml"/><Relationship Id="rId14" Type="http://schemas.openxmlformats.org/officeDocument/2006/relationships/image" Target="../media/image7.png"/><Relationship Id="rId22" Type="http://schemas.openxmlformats.org/officeDocument/2006/relationships/image" Target="../media/image10.png"/><Relationship Id="rId27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jpe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image" Target="../media/image20.jpg"/><Relationship Id="rId7" Type="http://schemas.openxmlformats.org/officeDocument/2006/relationships/image" Target="../media/image24.jpg"/><Relationship Id="rId12" Type="http://schemas.openxmlformats.org/officeDocument/2006/relationships/image" Target="../media/image29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jpg"/><Relationship Id="rId11" Type="http://schemas.openxmlformats.org/officeDocument/2006/relationships/image" Target="../media/image28.svg"/><Relationship Id="rId5" Type="http://schemas.openxmlformats.org/officeDocument/2006/relationships/image" Target="../media/image22.jpg"/><Relationship Id="rId10" Type="http://schemas.openxmlformats.org/officeDocument/2006/relationships/image" Target="../media/image27.png"/><Relationship Id="rId4" Type="http://schemas.openxmlformats.org/officeDocument/2006/relationships/image" Target="../media/image21.jpg"/><Relationship Id="rId9" Type="http://schemas.openxmlformats.org/officeDocument/2006/relationships/image" Target="../media/image26.svg"/><Relationship Id="rId14" Type="http://schemas.openxmlformats.org/officeDocument/2006/relationships/image" Target="../media/image3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230D51-B710-9C3F-0AB4-742FF941F7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0D6C1553-94B5-2E19-C63D-0E835CE12B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315200"/>
          </a:xfrm>
          <a:prstGeom prst="rect">
            <a:avLst/>
          </a:prstGeom>
        </p:spPr>
      </p:pic>
      <p:pic>
        <p:nvPicPr>
          <p:cNvPr id="6" name="yt1s.com - Netflix New Logo Animation 2019.mp3">
            <a:hlinkClick r:id="" action="ppaction://media"/>
            <a:extLst>
              <a:ext uri="{FF2B5EF4-FFF2-40B4-BE49-F238E27FC236}">
                <a16:creationId xmlns:a16="http://schemas.microsoft.com/office/drawing/2014/main" id="{B9A86408-DBA1-280C-02CA-CFBC785BFFC6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306.0417" end="1786.889"/>
                  <p14:fade out="1500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2690232" y="60198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04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Tm="3000"/>
    </mc:Choice>
    <mc:Fallback xmlns="">
      <p:transition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34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EFAA62-9076-1368-A7E2-920FD042CC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3D161A3-A217-A340-2BAC-B1EE0CDE76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61870" y="1782506"/>
            <a:ext cx="5212480" cy="3785397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EA64A3F3-541C-8A8E-01A6-DBC42E4EED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72560" y="1548943"/>
            <a:ext cx="5212480" cy="3785397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F447DE4-2C89-7303-9E5F-D10423777C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680024" y="1610169"/>
            <a:ext cx="5212480" cy="3785397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8708147A-EB9C-7A04-639D-94FC6F2599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72346" y="4849875"/>
            <a:ext cx="3724275" cy="1543050"/>
          </a:xfrm>
          <a:prstGeom prst="rect">
            <a:avLst/>
          </a:prstGeom>
        </p:spPr>
      </p:pic>
      <p:pic>
        <p:nvPicPr>
          <p:cNvPr id="69" name="Picture 68" descr="A person standing next to a backpack&#10;&#10;Description automatically generated with low confidence">
            <a:extLst>
              <a:ext uri="{FF2B5EF4-FFF2-40B4-BE49-F238E27FC236}">
                <a16:creationId xmlns:a16="http://schemas.microsoft.com/office/drawing/2014/main" id="{B8C07C68-DF03-E0F4-2891-69D685B1C1E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26" t="1365" r="37362" b="2095"/>
          <a:stretch/>
        </p:blipFill>
        <p:spPr>
          <a:xfrm rot="11326064">
            <a:off x="-1423955" y="2402320"/>
            <a:ext cx="874912" cy="1869624"/>
          </a:xfrm>
          <a:custGeom>
            <a:avLst/>
            <a:gdLst>
              <a:gd name="connsiteX0" fmla="*/ 595292 w 874912"/>
              <a:gd name="connsiteY0" fmla="*/ 0 h 1869624"/>
              <a:gd name="connsiteX1" fmla="*/ 630050 w 874912"/>
              <a:gd name="connsiteY1" fmla="*/ 0 h 1869624"/>
              <a:gd name="connsiteX2" fmla="*/ 725835 w 874912"/>
              <a:gd name="connsiteY2" fmla="*/ 209211 h 1869624"/>
              <a:gd name="connsiteX3" fmla="*/ 693430 w 874912"/>
              <a:gd name="connsiteY3" fmla="*/ 1869624 h 1869624"/>
              <a:gd name="connsiteX4" fmla="*/ 61342 w 874912"/>
              <a:gd name="connsiteY4" fmla="*/ 1593703 h 1869624"/>
              <a:gd name="connsiteX5" fmla="*/ 87374 w 874912"/>
              <a:gd name="connsiteY5" fmla="*/ 1534048 h 1869624"/>
              <a:gd name="connsiteX6" fmla="*/ 62947 w 874912"/>
              <a:gd name="connsiteY6" fmla="*/ 441931 h 1869624"/>
              <a:gd name="connsiteX7" fmla="*/ 0 w 874912"/>
              <a:gd name="connsiteY7" fmla="*/ 314475 h 1869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4912" h="1869624">
                <a:moveTo>
                  <a:pt x="595292" y="0"/>
                </a:moveTo>
                <a:lnTo>
                  <a:pt x="630050" y="0"/>
                </a:lnTo>
                <a:lnTo>
                  <a:pt x="725835" y="209211"/>
                </a:lnTo>
                <a:cubicBezTo>
                  <a:pt x="934100" y="741983"/>
                  <a:pt x="924930" y="1339298"/>
                  <a:pt x="693430" y="1869624"/>
                </a:cubicBezTo>
                <a:lnTo>
                  <a:pt x="61342" y="1593703"/>
                </a:lnTo>
                <a:lnTo>
                  <a:pt x="87374" y="1534048"/>
                </a:lnTo>
                <a:cubicBezTo>
                  <a:pt x="220133" y="1184271"/>
                  <a:pt x="214188" y="790993"/>
                  <a:pt x="62947" y="441931"/>
                </a:cubicBezTo>
                <a:lnTo>
                  <a:pt x="0" y="314475"/>
                </a:lnTo>
                <a:close/>
              </a:path>
            </a:pathLst>
          </a:custGeom>
        </p:spPr>
      </p:pic>
      <p:pic>
        <p:nvPicPr>
          <p:cNvPr id="67" name="Picture 66" descr="A picture containing underwater, diving, coral reef, organism&#10;&#10;Description automatically generated">
            <a:extLst>
              <a:ext uri="{FF2B5EF4-FFF2-40B4-BE49-F238E27FC236}">
                <a16:creationId xmlns:a16="http://schemas.microsoft.com/office/drawing/2014/main" id="{106C394C-B9DD-F66E-B8A5-C509A785154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75" t="414" r="50149" b="6697"/>
          <a:stretch/>
        </p:blipFill>
        <p:spPr>
          <a:xfrm rot="14530436">
            <a:off x="-577577" y="1083800"/>
            <a:ext cx="886132" cy="1880822"/>
          </a:xfrm>
          <a:custGeom>
            <a:avLst/>
            <a:gdLst>
              <a:gd name="connsiteX0" fmla="*/ 598352 w 886132"/>
              <a:gd name="connsiteY0" fmla="*/ 0 h 1880822"/>
              <a:gd name="connsiteX1" fmla="*/ 733462 w 886132"/>
              <a:gd name="connsiteY1" fmla="*/ 1880822 h 1880822"/>
              <a:gd name="connsiteX2" fmla="*/ 83309 w 886132"/>
              <a:gd name="connsiteY2" fmla="*/ 1623344 h 1880822"/>
              <a:gd name="connsiteX3" fmla="*/ 118493 w 886132"/>
              <a:gd name="connsiteY3" fmla="*/ 1534532 h 1880822"/>
              <a:gd name="connsiteX4" fmla="*/ 191706 w 886132"/>
              <a:gd name="connsiteY4" fmla="*/ 963376 h 1880822"/>
              <a:gd name="connsiteX5" fmla="*/ 37593 w 886132"/>
              <a:gd name="connsiteY5" fmla="*/ 408553 h 1880822"/>
              <a:gd name="connsiteX6" fmla="*/ 0 w 886132"/>
              <a:gd name="connsiteY6" fmla="*/ 342991 h 1880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6132" h="1880822">
                <a:moveTo>
                  <a:pt x="598352" y="0"/>
                </a:moveTo>
                <a:cubicBezTo>
                  <a:pt x="927225" y="573724"/>
                  <a:pt x="976953" y="1265981"/>
                  <a:pt x="733462" y="1880822"/>
                </a:cubicBezTo>
                <a:lnTo>
                  <a:pt x="83309" y="1623344"/>
                </a:lnTo>
                <a:lnTo>
                  <a:pt x="118493" y="1534532"/>
                </a:lnTo>
                <a:cubicBezTo>
                  <a:pt x="179250" y="1356233"/>
                  <a:pt x="206054" y="1163077"/>
                  <a:pt x="191706" y="963376"/>
                </a:cubicBezTo>
                <a:cubicBezTo>
                  <a:pt x="177358" y="763675"/>
                  <a:pt x="123216" y="576334"/>
                  <a:pt x="37593" y="408553"/>
                </a:cubicBezTo>
                <a:lnTo>
                  <a:pt x="0" y="342991"/>
                </a:lnTo>
                <a:close/>
              </a:path>
            </a:pathLst>
          </a:custGeom>
        </p:spPr>
      </p:pic>
      <p:pic>
        <p:nvPicPr>
          <p:cNvPr id="64" name="Picture 63" descr="A grey fox sitting on a log&#10;&#10;Description automatically generated with medium confidence">
            <a:extLst>
              <a:ext uri="{FF2B5EF4-FFF2-40B4-BE49-F238E27FC236}">
                <a16:creationId xmlns:a16="http://schemas.microsoft.com/office/drawing/2014/main" id="{B5A300F1-45D6-4A61-F462-3125FD5C241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24" t="-17" r="5530" b="580"/>
          <a:stretch/>
        </p:blipFill>
        <p:spPr>
          <a:xfrm rot="17742015">
            <a:off x="940263" y="896143"/>
            <a:ext cx="922163" cy="1874659"/>
          </a:xfrm>
          <a:custGeom>
            <a:avLst/>
            <a:gdLst>
              <a:gd name="connsiteX0" fmla="*/ 593530 w 922163"/>
              <a:gd name="connsiteY0" fmla="*/ 0 h 1874659"/>
              <a:gd name="connsiteX1" fmla="*/ 797423 w 922163"/>
              <a:gd name="connsiteY1" fmla="*/ 1874659 h 1874659"/>
              <a:gd name="connsiteX2" fmla="*/ 112453 w 922163"/>
              <a:gd name="connsiteY2" fmla="*/ 1632004 h 1874659"/>
              <a:gd name="connsiteX3" fmla="*/ 113897 w 922163"/>
              <a:gd name="connsiteY3" fmla="*/ 1628715 h 1874659"/>
              <a:gd name="connsiteX4" fmla="*/ 23880 w 922163"/>
              <a:gd name="connsiteY4" fmla="*/ 408092 h 1874659"/>
              <a:gd name="connsiteX5" fmla="*/ 0 w 922163"/>
              <a:gd name="connsiteY5" fmla="*/ 369749 h 1874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2163" h="1874659">
                <a:moveTo>
                  <a:pt x="593530" y="0"/>
                </a:moveTo>
                <a:cubicBezTo>
                  <a:pt x="943206" y="561308"/>
                  <a:pt x="1018253" y="1251301"/>
                  <a:pt x="797423" y="1874659"/>
                </a:cubicBezTo>
                <a:lnTo>
                  <a:pt x="112453" y="1632004"/>
                </a:lnTo>
                <a:lnTo>
                  <a:pt x="113897" y="1628715"/>
                </a:lnTo>
                <a:cubicBezTo>
                  <a:pt x="267863" y="1223381"/>
                  <a:pt x="228725" y="775771"/>
                  <a:pt x="23880" y="408092"/>
                </a:cubicBezTo>
                <a:lnTo>
                  <a:pt x="0" y="369749"/>
                </a:lnTo>
                <a:close/>
              </a:path>
            </a:pathLst>
          </a:custGeom>
        </p:spPr>
      </p:pic>
      <p:pic>
        <p:nvPicPr>
          <p:cNvPr id="62" name="Picture 61" descr="A car parked in a parking lot&#10;&#10;Description automatically generated with low confidence">
            <a:extLst>
              <a:ext uri="{FF2B5EF4-FFF2-40B4-BE49-F238E27FC236}">
                <a16:creationId xmlns:a16="http://schemas.microsoft.com/office/drawing/2014/main" id="{1E4AF530-6C69-3DC1-EF33-925B4C8CB3D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07" t="1871" r="21821" b="1016"/>
          <a:stretch/>
        </p:blipFill>
        <p:spPr>
          <a:xfrm rot="21011508">
            <a:off x="2506507" y="1294496"/>
            <a:ext cx="1415689" cy="2666594"/>
          </a:xfrm>
          <a:custGeom>
            <a:avLst/>
            <a:gdLst>
              <a:gd name="connsiteX0" fmla="*/ 595376 w 988046"/>
              <a:gd name="connsiteY0" fmla="*/ 0 h 1861085"/>
              <a:gd name="connsiteX1" fmla="*/ 899148 w 988046"/>
              <a:gd name="connsiteY1" fmla="*/ 1861085 h 1861085"/>
              <a:gd name="connsiteX2" fmla="*/ 177353 w 988046"/>
              <a:gd name="connsiteY2" fmla="*/ 1648046 h 1861085"/>
              <a:gd name="connsiteX3" fmla="*/ 211504 w 988046"/>
              <a:gd name="connsiteY3" fmla="*/ 1517512 h 1861085"/>
              <a:gd name="connsiteX4" fmla="*/ 135531 w 988046"/>
              <a:gd name="connsiteY4" fmla="*/ 673183 h 1861085"/>
              <a:gd name="connsiteX5" fmla="*/ 72749 w 988046"/>
              <a:gd name="connsiteY5" fmla="*/ 538659 h 1861085"/>
              <a:gd name="connsiteX6" fmla="*/ 0 w 988046"/>
              <a:gd name="connsiteY6" fmla="*/ 416647 h 1861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8046" h="1861085">
                <a:moveTo>
                  <a:pt x="595376" y="0"/>
                </a:moveTo>
                <a:cubicBezTo>
                  <a:pt x="974545" y="541822"/>
                  <a:pt x="1086352" y="1226818"/>
                  <a:pt x="899148" y="1861085"/>
                </a:cubicBezTo>
                <a:lnTo>
                  <a:pt x="177353" y="1648046"/>
                </a:lnTo>
                <a:lnTo>
                  <a:pt x="211504" y="1517512"/>
                </a:lnTo>
                <a:cubicBezTo>
                  <a:pt x="269169" y="1244228"/>
                  <a:pt x="248652" y="951387"/>
                  <a:pt x="135531" y="673183"/>
                </a:cubicBezTo>
                <a:cubicBezTo>
                  <a:pt x="116677" y="626816"/>
                  <a:pt x="95697" y="581952"/>
                  <a:pt x="72749" y="538659"/>
                </a:cubicBezTo>
                <a:lnTo>
                  <a:pt x="0" y="416647"/>
                </a:lnTo>
                <a:close/>
              </a:path>
            </a:pathLst>
          </a:custGeom>
        </p:spPr>
      </p:pic>
      <p:pic>
        <p:nvPicPr>
          <p:cNvPr id="58" name="Picture 57" descr="A picture containing fruit, orange, citrus&#10;&#10;Description automatically generated">
            <a:extLst>
              <a:ext uri="{FF2B5EF4-FFF2-40B4-BE49-F238E27FC236}">
                <a16:creationId xmlns:a16="http://schemas.microsoft.com/office/drawing/2014/main" id="{092B8FE3-0CCA-3E25-CBCD-93B1EA808090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47" t="519" r="14347" b="-1264"/>
          <a:stretch/>
        </p:blipFill>
        <p:spPr>
          <a:xfrm rot="5210835">
            <a:off x="568737" y="4392834"/>
            <a:ext cx="931683" cy="1883012"/>
          </a:xfrm>
          <a:custGeom>
            <a:avLst/>
            <a:gdLst>
              <a:gd name="connsiteX0" fmla="*/ 663201 w 931683"/>
              <a:gd name="connsiteY0" fmla="*/ 0 h 1883012"/>
              <a:gd name="connsiteX1" fmla="*/ 764145 w 931683"/>
              <a:gd name="connsiteY1" fmla="*/ 1883012 h 1883012"/>
              <a:gd name="connsiteX2" fmla="*/ 85112 w 931683"/>
              <a:gd name="connsiteY2" fmla="*/ 1599722 h 1883012"/>
              <a:gd name="connsiteX3" fmla="*/ 127270 w 931683"/>
              <a:gd name="connsiteY3" fmla="*/ 1476942 h 1883012"/>
              <a:gd name="connsiteX4" fmla="*/ 5811 w 931683"/>
              <a:gd name="connsiteY4" fmla="*/ 373757 h 1883012"/>
              <a:gd name="connsiteX5" fmla="*/ 0 w 931683"/>
              <a:gd name="connsiteY5" fmla="*/ 364339 h 1883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1683" h="1883012">
                <a:moveTo>
                  <a:pt x="663201" y="0"/>
                </a:moveTo>
                <a:cubicBezTo>
                  <a:pt x="981620" y="579612"/>
                  <a:pt x="1018774" y="1272680"/>
                  <a:pt x="764145" y="1883012"/>
                </a:cubicBezTo>
                <a:lnTo>
                  <a:pt x="85112" y="1599722"/>
                </a:lnTo>
                <a:lnTo>
                  <a:pt x="127270" y="1476942"/>
                </a:lnTo>
                <a:cubicBezTo>
                  <a:pt x="230914" y="1120599"/>
                  <a:pt x="198616" y="724715"/>
                  <a:pt x="5811" y="373757"/>
                </a:cubicBezTo>
                <a:lnTo>
                  <a:pt x="0" y="364339"/>
                </a:lnTo>
                <a:close/>
              </a:path>
            </a:pathLst>
          </a:custGeom>
        </p:spPr>
      </p:pic>
      <p:pic>
        <p:nvPicPr>
          <p:cNvPr id="56" name="Picture 55" descr="A picture containing reef, red&#10;&#10;Description automatically generated">
            <a:extLst>
              <a:ext uri="{FF2B5EF4-FFF2-40B4-BE49-F238E27FC236}">
                <a16:creationId xmlns:a16="http://schemas.microsoft.com/office/drawing/2014/main" id="{368DF0BF-CFBD-0DC9-AC0B-D8C377DE08EE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" r="33298" b="6961"/>
          <a:stretch/>
        </p:blipFill>
        <p:spPr>
          <a:xfrm rot="8883864">
            <a:off x="-936716" y="3930658"/>
            <a:ext cx="1049351" cy="1838435"/>
          </a:xfrm>
          <a:custGeom>
            <a:avLst/>
            <a:gdLst>
              <a:gd name="connsiteX0" fmla="*/ 575238 w 1049351"/>
              <a:gd name="connsiteY0" fmla="*/ 0 h 1838435"/>
              <a:gd name="connsiteX1" fmla="*/ 994849 w 1049351"/>
              <a:gd name="connsiteY1" fmla="*/ 1838435 h 1838435"/>
              <a:gd name="connsiteX2" fmla="*/ 307617 w 1049351"/>
              <a:gd name="connsiteY2" fmla="*/ 1681579 h 1838435"/>
              <a:gd name="connsiteX3" fmla="*/ 307950 w 1049351"/>
              <a:gd name="connsiteY3" fmla="*/ 1680284 h 1838435"/>
              <a:gd name="connsiteX4" fmla="*/ 337410 w 1049351"/>
              <a:gd name="connsiteY4" fmla="*/ 1388040 h 1838435"/>
              <a:gd name="connsiteX5" fmla="*/ 6280 w 1049351"/>
              <a:gd name="connsiteY5" fmla="*/ 465647 h 1838435"/>
              <a:gd name="connsiteX6" fmla="*/ 0 w 1049351"/>
              <a:gd name="connsiteY6" fmla="*/ 458737 h 1838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9351" h="1838435">
                <a:moveTo>
                  <a:pt x="575238" y="0"/>
                </a:moveTo>
                <a:cubicBezTo>
                  <a:pt x="987563" y="517039"/>
                  <a:pt x="1142005" y="1193699"/>
                  <a:pt x="994849" y="1838435"/>
                </a:cubicBezTo>
                <a:lnTo>
                  <a:pt x="307617" y="1681579"/>
                </a:lnTo>
                <a:lnTo>
                  <a:pt x="307950" y="1680284"/>
                </a:lnTo>
                <a:cubicBezTo>
                  <a:pt x="327266" y="1585887"/>
                  <a:pt x="337410" y="1488148"/>
                  <a:pt x="337410" y="1388040"/>
                </a:cubicBezTo>
                <a:cubicBezTo>
                  <a:pt x="337410" y="1037662"/>
                  <a:pt x="213145" y="716308"/>
                  <a:pt x="6280" y="465647"/>
                </a:cubicBezTo>
                <a:lnTo>
                  <a:pt x="0" y="458737"/>
                </a:lnTo>
                <a:close/>
              </a:path>
            </a:pathLst>
          </a:cu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4CD2EF34-70B7-44C2-6B8D-203D222CBA3B}"/>
              </a:ext>
            </a:extLst>
          </p:cNvPr>
          <p:cNvSpPr txBox="1"/>
          <p:nvPr/>
        </p:nvSpPr>
        <p:spPr>
          <a:xfrm>
            <a:off x="476748" y="3213483"/>
            <a:ext cx="117852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ture" panose="020B0804020202020204" pitchFamily="34" charset="0"/>
                <a:ea typeface="+mn-ea"/>
                <a:cs typeface="+mn-cs"/>
              </a:rPr>
              <a:t>SUB 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824D04-2ED4-BA9A-1451-B0EE68250EF8}"/>
              </a:ext>
            </a:extLst>
          </p:cNvPr>
          <p:cNvSpPr txBox="1"/>
          <p:nvPr/>
        </p:nvSpPr>
        <p:spPr>
          <a:xfrm>
            <a:off x="4138978" y="1833472"/>
            <a:ext cx="30804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ture" panose="020B0804020202020204" pitchFamily="34" charset="0"/>
                <a:ea typeface="+mn-ea"/>
                <a:cs typeface="+mn-cs"/>
              </a:rPr>
              <a:t>ANALISIS SIST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A1944C-288E-6D3F-C3DA-6CA823B8125F}"/>
              </a:ext>
            </a:extLst>
          </p:cNvPr>
          <p:cNvSpPr txBox="1"/>
          <p:nvPr/>
        </p:nvSpPr>
        <p:spPr>
          <a:xfrm>
            <a:off x="4397027" y="2622701"/>
            <a:ext cx="695314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nalis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iste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mencaku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engumpul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d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engorganisasi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fak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–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fak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menggunak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tekni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-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tekni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wawancar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kuesion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enelaah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okum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, d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observa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bergun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ala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engumpul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fak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. Teknik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iste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yang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ap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igunak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epert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diagra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ru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dat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log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d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bag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ru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nalit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50" charset="0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334E3DA-F927-BBC2-77A9-D307A5197F6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075159" y="3996706"/>
            <a:ext cx="1190625" cy="246697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6711E98-FA83-57C6-A2CE-82E4178551C6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02" t="14338" r="24694" b="3682"/>
          <a:stretch/>
        </p:blipFill>
        <p:spPr>
          <a:xfrm rot="2181726">
            <a:off x="1824045" y="3499681"/>
            <a:ext cx="1015218" cy="1943364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254086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D6B5C2-0E5C-3BD5-15B8-D213CD4B92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6F45663-C32C-FAF0-29FE-E562B8141AFF}"/>
              </a:ext>
            </a:extLst>
          </p:cNvPr>
          <p:cNvSpPr/>
          <p:nvPr/>
        </p:nvSpPr>
        <p:spPr>
          <a:xfrm rot="5400000">
            <a:off x="4610079" y="2282743"/>
            <a:ext cx="3071414" cy="12092183"/>
          </a:xfrm>
          <a:custGeom>
            <a:avLst/>
            <a:gdLst>
              <a:gd name="connsiteX0" fmla="*/ 0 w 3071414"/>
              <a:gd name="connsiteY0" fmla="*/ 0 h 12092183"/>
              <a:gd name="connsiteX1" fmla="*/ 3071415 w 3071414"/>
              <a:gd name="connsiteY1" fmla="*/ 0 h 12092183"/>
              <a:gd name="connsiteX2" fmla="*/ 3071415 w 3071414"/>
              <a:gd name="connsiteY2" fmla="*/ 12092183 h 12092183"/>
              <a:gd name="connsiteX3" fmla="*/ 0 w 3071414"/>
              <a:gd name="connsiteY3" fmla="*/ 12092183 h 12092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71414" h="12092183">
                <a:moveTo>
                  <a:pt x="0" y="0"/>
                </a:moveTo>
                <a:lnTo>
                  <a:pt x="3071415" y="0"/>
                </a:lnTo>
                <a:lnTo>
                  <a:pt x="3071415" y="12092183"/>
                </a:lnTo>
                <a:lnTo>
                  <a:pt x="0" y="12092183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2417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6F1CDFA-7A35-50C9-BF63-8CB4E45558DF}"/>
              </a:ext>
            </a:extLst>
          </p:cNvPr>
          <p:cNvSpPr/>
          <p:nvPr/>
        </p:nvSpPr>
        <p:spPr>
          <a:xfrm>
            <a:off x="2061168" y="4108534"/>
            <a:ext cx="5893971" cy="4137945"/>
          </a:xfrm>
          <a:custGeom>
            <a:avLst/>
            <a:gdLst>
              <a:gd name="connsiteX0" fmla="*/ 5647775 w 5893971"/>
              <a:gd name="connsiteY0" fmla="*/ 2690269 h 4137945"/>
              <a:gd name="connsiteX1" fmla="*/ 5631814 w 5893971"/>
              <a:gd name="connsiteY1" fmla="*/ 2265108 h 4137945"/>
              <a:gd name="connsiteX2" fmla="*/ 5647775 w 5893971"/>
              <a:gd name="connsiteY2" fmla="*/ 2249146 h 4137945"/>
              <a:gd name="connsiteX3" fmla="*/ 5660351 w 5893971"/>
              <a:gd name="connsiteY3" fmla="*/ 2218432 h 4137945"/>
              <a:gd name="connsiteX4" fmla="*/ 5660351 w 5893971"/>
              <a:gd name="connsiteY4" fmla="*/ 2218190 h 4137945"/>
              <a:gd name="connsiteX5" fmla="*/ 5660351 w 5893971"/>
              <a:gd name="connsiteY5" fmla="*/ 2217948 h 4137945"/>
              <a:gd name="connsiteX6" fmla="*/ 5629153 w 5893971"/>
              <a:gd name="connsiteY6" fmla="*/ 2176351 h 4137945"/>
              <a:gd name="connsiteX7" fmla="*/ 5619479 w 5893971"/>
              <a:gd name="connsiteY7" fmla="*/ 2173449 h 4137945"/>
              <a:gd name="connsiteX8" fmla="*/ 5602792 w 5893971"/>
              <a:gd name="connsiteY8" fmla="*/ 1689278 h 4137945"/>
              <a:gd name="connsiteX9" fmla="*/ 5608355 w 5893971"/>
              <a:gd name="connsiteY9" fmla="*/ 1685650 h 4137945"/>
              <a:gd name="connsiteX10" fmla="*/ 5631572 w 5893971"/>
              <a:gd name="connsiteY10" fmla="*/ 1642360 h 4137945"/>
              <a:gd name="connsiteX11" fmla="*/ 5631572 w 5893971"/>
              <a:gd name="connsiteY11" fmla="*/ 1642118 h 4137945"/>
              <a:gd name="connsiteX12" fmla="*/ 5631572 w 5893971"/>
              <a:gd name="connsiteY12" fmla="*/ 1637765 h 4137945"/>
              <a:gd name="connsiteX13" fmla="*/ 5631572 w 5893971"/>
              <a:gd name="connsiteY13" fmla="*/ 1637523 h 4137945"/>
              <a:gd name="connsiteX14" fmla="*/ 5602792 w 5893971"/>
              <a:gd name="connsiteY14" fmla="*/ 1591089 h 4137945"/>
              <a:gd name="connsiteX15" fmla="*/ 5576431 w 5893971"/>
              <a:gd name="connsiteY15" fmla="*/ 1054197 h 4137945"/>
              <a:gd name="connsiteX16" fmla="*/ 5599649 w 5893971"/>
              <a:gd name="connsiteY16" fmla="*/ 1038235 h 4137945"/>
              <a:gd name="connsiteX17" fmla="*/ 5618513 w 5893971"/>
              <a:gd name="connsiteY17" fmla="*/ 1002684 h 4137945"/>
              <a:gd name="connsiteX18" fmla="*/ 5618513 w 5893971"/>
              <a:gd name="connsiteY18" fmla="*/ 1002442 h 4137945"/>
              <a:gd name="connsiteX19" fmla="*/ 5618513 w 5893971"/>
              <a:gd name="connsiteY19" fmla="*/ 1002200 h 4137945"/>
              <a:gd name="connsiteX20" fmla="*/ 5599649 w 5893971"/>
              <a:gd name="connsiteY20" fmla="*/ 966649 h 4137945"/>
              <a:gd name="connsiteX21" fmla="*/ 5576431 w 5893971"/>
              <a:gd name="connsiteY21" fmla="*/ 950688 h 4137945"/>
              <a:gd name="connsiteX22" fmla="*/ 5576431 w 5893971"/>
              <a:gd name="connsiteY22" fmla="*/ 839923 h 4137945"/>
              <a:gd name="connsiteX23" fmla="*/ 5631814 w 5893971"/>
              <a:gd name="connsiteY23" fmla="*/ 813078 h 4137945"/>
              <a:gd name="connsiteX24" fmla="*/ 5631572 w 5893971"/>
              <a:gd name="connsiteY24" fmla="*/ 812837 h 4137945"/>
              <a:gd name="connsiteX25" fmla="*/ 5631814 w 5893971"/>
              <a:gd name="connsiteY25" fmla="*/ 812837 h 4137945"/>
              <a:gd name="connsiteX26" fmla="*/ 5593361 w 5893971"/>
              <a:gd name="connsiteY26" fmla="*/ 778253 h 4137945"/>
              <a:gd name="connsiteX27" fmla="*/ 5576431 w 5893971"/>
              <a:gd name="connsiteY27" fmla="*/ 773174 h 4137945"/>
              <a:gd name="connsiteX28" fmla="*/ 5567241 w 5893971"/>
              <a:gd name="connsiteY28" fmla="*/ 718276 h 4137945"/>
              <a:gd name="connsiteX29" fmla="*/ 5478727 w 5893971"/>
              <a:gd name="connsiteY29" fmla="*/ 627584 h 4137945"/>
              <a:gd name="connsiteX30" fmla="*/ 5478727 w 5893971"/>
              <a:gd name="connsiteY30" fmla="*/ 615008 h 4137945"/>
              <a:gd name="connsiteX31" fmla="*/ 5485740 w 5893971"/>
              <a:gd name="connsiteY31" fmla="*/ 604609 h 4137945"/>
              <a:gd name="connsiteX32" fmla="*/ 5478727 w 5893971"/>
              <a:gd name="connsiteY32" fmla="*/ 594210 h 4137945"/>
              <a:gd name="connsiteX33" fmla="*/ 5478727 w 5893971"/>
              <a:gd name="connsiteY33" fmla="*/ 580909 h 4137945"/>
              <a:gd name="connsiteX34" fmla="*/ 5485740 w 5893971"/>
              <a:gd name="connsiteY34" fmla="*/ 570509 h 4137945"/>
              <a:gd name="connsiteX35" fmla="*/ 5478727 w 5893971"/>
              <a:gd name="connsiteY35" fmla="*/ 560110 h 4137945"/>
              <a:gd name="connsiteX36" fmla="*/ 5478727 w 5893971"/>
              <a:gd name="connsiteY36" fmla="*/ 542697 h 4137945"/>
              <a:gd name="connsiteX37" fmla="*/ 5485740 w 5893971"/>
              <a:gd name="connsiteY37" fmla="*/ 532298 h 4137945"/>
              <a:gd name="connsiteX38" fmla="*/ 5474373 w 5893971"/>
              <a:gd name="connsiteY38" fmla="*/ 520931 h 4137945"/>
              <a:gd name="connsiteX39" fmla="*/ 5463006 w 5893971"/>
              <a:gd name="connsiteY39" fmla="*/ 532298 h 4137945"/>
              <a:gd name="connsiteX40" fmla="*/ 5470020 w 5893971"/>
              <a:gd name="connsiteY40" fmla="*/ 542697 h 4137945"/>
              <a:gd name="connsiteX41" fmla="*/ 5470020 w 5893971"/>
              <a:gd name="connsiteY41" fmla="*/ 560110 h 4137945"/>
              <a:gd name="connsiteX42" fmla="*/ 5463006 w 5893971"/>
              <a:gd name="connsiteY42" fmla="*/ 570509 h 4137945"/>
              <a:gd name="connsiteX43" fmla="*/ 5470020 w 5893971"/>
              <a:gd name="connsiteY43" fmla="*/ 580909 h 4137945"/>
              <a:gd name="connsiteX44" fmla="*/ 5470020 w 5893971"/>
              <a:gd name="connsiteY44" fmla="*/ 594210 h 4137945"/>
              <a:gd name="connsiteX45" fmla="*/ 5463006 w 5893971"/>
              <a:gd name="connsiteY45" fmla="*/ 604609 h 4137945"/>
              <a:gd name="connsiteX46" fmla="*/ 5470020 w 5893971"/>
              <a:gd name="connsiteY46" fmla="*/ 615008 h 4137945"/>
              <a:gd name="connsiteX47" fmla="*/ 5470020 w 5893971"/>
              <a:gd name="connsiteY47" fmla="*/ 627584 h 4137945"/>
              <a:gd name="connsiteX48" fmla="*/ 5381505 w 5893971"/>
              <a:gd name="connsiteY48" fmla="*/ 718276 h 4137945"/>
              <a:gd name="connsiteX49" fmla="*/ 5372315 w 5893971"/>
              <a:gd name="connsiteY49" fmla="*/ 773174 h 4137945"/>
              <a:gd name="connsiteX50" fmla="*/ 5355387 w 5893971"/>
              <a:gd name="connsiteY50" fmla="*/ 778253 h 4137945"/>
              <a:gd name="connsiteX51" fmla="*/ 5316933 w 5893971"/>
              <a:gd name="connsiteY51" fmla="*/ 812837 h 4137945"/>
              <a:gd name="connsiteX52" fmla="*/ 5317175 w 5893971"/>
              <a:gd name="connsiteY52" fmla="*/ 812837 h 4137945"/>
              <a:gd name="connsiteX53" fmla="*/ 5316933 w 5893971"/>
              <a:gd name="connsiteY53" fmla="*/ 813078 h 4137945"/>
              <a:gd name="connsiteX54" fmla="*/ 5372315 w 5893971"/>
              <a:gd name="connsiteY54" fmla="*/ 839923 h 4137945"/>
              <a:gd name="connsiteX55" fmla="*/ 5372315 w 5893971"/>
              <a:gd name="connsiteY55" fmla="*/ 950688 h 4137945"/>
              <a:gd name="connsiteX56" fmla="*/ 5349098 w 5893971"/>
              <a:gd name="connsiteY56" fmla="*/ 966649 h 4137945"/>
              <a:gd name="connsiteX57" fmla="*/ 5330235 w 5893971"/>
              <a:gd name="connsiteY57" fmla="*/ 1002200 h 4137945"/>
              <a:gd name="connsiteX58" fmla="*/ 5330235 w 5893971"/>
              <a:gd name="connsiteY58" fmla="*/ 1002442 h 4137945"/>
              <a:gd name="connsiteX59" fmla="*/ 5330235 w 5893971"/>
              <a:gd name="connsiteY59" fmla="*/ 1002684 h 4137945"/>
              <a:gd name="connsiteX60" fmla="*/ 5349098 w 5893971"/>
              <a:gd name="connsiteY60" fmla="*/ 1038235 h 4137945"/>
              <a:gd name="connsiteX61" fmla="*/ 5372315 w 5893971"/>
              <a:gd name="connsiteY61" fmla="*/ 1054197 h 4137945"/>
              <a:gd name="connsiteX62" fmla="*/ 5345954 w 5893971"/>
              <a:gd name="connsiteY62" fmla="*/ 1591089 h 4137945"/>
              <a:gd name="connsiteX63" fmla="*/ 5317175 w 5893971"/>
              <a:gd name="connsiteY63" fmla="*/ 1637523 h 4137945"/>
              <a:gd name="connsiteX64" fmla="*/ 5317175 w 5893971"/>
              <a:gd name="connsiteY64" fmla="*/ 1637765 h 4137945"/>
              <a:gd name="connsiteX65" fmla="*/ 5317175 w 5893971"/>
              <a:gd name="connsiteY65" fmla="*/ 1642118 h 4137945"/>
              <a:gd name="connsiteX66" fmla="*/ 5317175 w 5893971"/>
              <a:gd name="connsiteY66" fmla="*/ 1642360 h 4137945"/>
              <a:gd name="connsiteX67" fmla="*/ 5340392 w 5893971"/>
              <a:gd name="connsiteY67" fmla="*/ 1685650 h 4137945"/>
              <a:gd name="connsiteX68" fmla="*/ 5345954 w 5893971"/>
              <a:gd name="connsiteY68" fmla="*/ 1689278 h 4137945"/>
              <a:gd name="connsiteX69" fmla="*/ 5329267 w 5893971"/>
              <a:gd name="connsiteY69" fmla="*/ 2173449 h 4137945"/>
              <a:gd name="connsiteX70" fmla="*/ 5319593 w 5893971"/>
              <a:gd name="connsiteY70" fmla="*/ 2176351 h 4137945"/>
              <a:gd name="connsiteX71" fmla="*/ 5288395 w 5893971"/>
              <a:gd name="connsiteY71" fmla="*/ 2217948 h 4137945"/>
              <a:gd name="connsiteX72" fmla="*/ 5288395 w 5893971"/>
              <a:gd name="connsiteY72" fmla="*/ 2218190 h 4137945"/>
              <a:gd name="connsiteX73" fmla="*/ 5288395 w 5893971"/>
              <a:gd name="connsiteY73" fmla="*/ 2218432 h 4137945"/>
              <a:gd name="connsiteX74" fmla="*/ 5300972 w 5893971"/>
              <a:gd name="connsiteY74" fmla="*/ 2249146 h 4137945"/>
              <a:gd name="connsiteX75" fmla="*/ 5316933 w 5893971"/>
              <a:gd name="connsiteY75" fmla="*/ 2265108 h 4137945"/>
              <a:gd name="connsiteX76" fmla="*/ 5300972 w 5893971"/>
              <a:gd name="connsiteY76" fmla="*/ 2690269 h 4137945"/>
              <a:gd name="connsiteX77" fmla="*/ 4679675 w 5893971"/>
              <a:gd name="connsiteY77" fmla="*/ 2690269 h 4137945"/>
              <a:gd name="connsiteX78" fmla="*/ 4671694 w 5893971"/>
              <a:gd name="connsiteY78" fmla="*/ 2477205 h 4137945"/>
              <a:gd name="connsiteX79" fmla="*/ 4681368 w 5893971"/>
              <a:gd name="connsiteY79" fmla="*/ 2467531 h 4137945"/>
              <a:gd name="connsiteX80" fmla="*/ 4688865 w 5893971"/>
              <a:gd name="connsiteY80" fmla="*/ 2449393 h 4137945"/>
              <a:gd name="connsiteX81" fmla="*/ 4688865 w 5893971"/>
              <a:gd name="connsiteY81" fmla="*/ 2449393 h 4137945"/>
              <a:gd name="connsiteX82" fmla="*/ 4688865 w 5893971"/>
              <a:gd name="connsiteY82" fmla="*/ 2449393 h 4137945"/>
              <a:gd name="connsiteX83" fmla="*/ 4670243 w 5893971"/>
              <a:gd name="connsiteY83" fmla="*/ 2424725 h 4137945"/>
              <a:gd name="connsiteX84" fmla="*/ 4664439 w 5893971"/>
              <a:gd name="connsiteY84" fmla="*/ 2423032 h 4137945"/>
              <a:gd name="connsiteX85" fmla="*/ 4654523 w 5893971"/>
              <a:gd name="connsiteY85" fmla="*/ 2134996 h 4137945"/>
              <a:gd name="connsiteX86" fmla="*/ 4657909 w 5893971"/>
              <a:gd name="connsiteY86" fmla="*/ 2132819 h 4137945"/>
              <a:gd name="connsiteX87" fmla="*/ 4671694 w 5893971"/>
              <a:gd name="connsiteY87" fmla="*/ 2106942 h 4137945"/>
              <a:gd name="connsiteX88" fmla="*/ 4671694 w 5893971"/>
              <a:gd name="connsiteY88" fmla="*/ 2106700 h 4137945"/>
              <a:gd name="connsiteX89" fmla="*/ 4671694 w 5893971"/>
              <a:gd name="connsiteY89" fmla="*/ 2104040 h 4137945"/>
              <a:gd name="connsiteX90" fmla="*/ 4671694 w 5893971"/>
              <a:gd name="connsiteY90" fmla="*/ 2103798 h 4137945"/>
              <a:gd name="connsiteX91" fmla="*/ 4654523 w 5893971"/>
              <a:gd name="connsiteY91" fmla="*/ 2075986 h 4137945"/>
              <a:gd name="connsiteX92" fmla="*/ 4638804 w 5893971"/>
              <a:gd name="connsiteY92" fmla="*/ 1756511 h 4137945"/>
              <a:gd name="connsiteX93" fmla="*/ 4652589 w 5893971"/>
              <a:gd name="connsiteY93" fmla="*/ 1747079 h 4137945"/>
              <a:gd name="connsiteX94" fmla="*/ 4663713 w 5893971"/>
              <a:gd name="connsiteY94" fmla="*/ 1725796 h 4137945"/>
              <a:gd name="connsiteX95" fmla="*/ 4663713 w 5893971"/>
              <a:gd name="connsiteY95" fmla="*/ 1725796 h 4137945"/>
              <a:gd name="connsiteX96" fmla="*/ 4663713 w 5893971"/>
              <a:gd name="connsiteY96" fmla="*/ 1725796 h 4137945"/>
              <a:gd name="connsiteX97" fmla="*/ 4652589 w 5893971"/>
              <a:gd name="connsiteY97" fmla="*/ 1704514 h 4137945"/>
              <a:gd name="connsiteX98" fmla="*/ 4638804 w 5893971"/>
              <a:gd name="connsiteY98" fmla="*/ 1695082 h 4137945"/>
              <a:gd name="connsiteX99" fmla="*/ 4638804 w 5893971"/>
              <a:gd name="connsiteY99" fmla="*/ 1629059 h 4137945"/>
              <a:gd name="connsiteX100" fmla="*/ 4671694 w 5893971"/>
              <a:gd name="connsiteY100" fmla="*/ 1613097 h 4137945"/>
              <a:gd name="connsiteX101" fmla="*/ 4671694 w 5893971"/>
              <a:gd name="connsiteY101" fmla="*/ 1613097 h 4137945"/>
              <a:gd name="connsiteX102" fmla="*/ 4671694 w 5893971"/>
              <a:gd name="connsiteY102" fmla="*/ 1613097 h 4137945"/>
              <a:gd name="connsiteX103" fmla="*/ 4648719 w 5893971"/>
              <a:gd name="connsiteY103" fmla="*/ 1592541 h 4137945"/>
              <a:gd name="connsiteX104" fmla="*/ 4638562 w 5893971"/>
              <a:gd name="connsiteY104" fmla="*/ 1589638 h 4137945"/>
              <a:gd name="connsiteX105" fmla="*/ 4633000 w 5893971"/>
              <a:gd name="connsiteY105" fmla="*/ 1556990 h 4137945"/>
              <a:gd name="connsiteX106" fmla="*/ 4580277 w 5893971"/>
              <a:gd name="connsiteY106" fmla="*/ 1503058 h 4137945"/>
              <a:gd name="connsiteX107" fmla="*/ 4580277 w 5893971"/>
              <a:gd name="connsiteY107" fmla="*/ 1495561 h 4137945"/>
              <a:gd name="connsiteX108" fmla="*/ 4584389 w 5893971"/>
              <a:gd name="connsiteY108" fmla="*/ 1489273 h 4137945"/>
              <a:gd name="connsiteX109" fmla="*/ 4580277 w 5893971"/>
              <a:gd name="connsiteY109" fmla="*/ 1482985 h 4137945"/>
              <a:gd name="connsiteX110" fmla="*/ 4580277 w 5893971"/>
              <a:gd name="connsiteY110" fmla="*/ 1475246 h 4137945"/>
              <a:gd name="connsiteX111" fmla="*/ 4584389 w 5893971"/>
              <a:gd name="connsiteY111" fmla="*/ 1468959 h 4137945"/>
              <a:gd name="connsiteX112" fmla="*/ 4580277 w 5893971"/>
              <a:gd name="connsiteY112" fmla="*/ 1462671 h 4137945"/>
              <a:gd name="connsiteX113" fmla="*/ 4580277 w 5893971"/>
              <a:gd name="connsiteY113" fmla="*/ 1452029 h 4137945"/>
              <a:gd name="connsiteX114" fmla="*/ 4584389 w 5893971"/>
              <a:gd name="connsiteY114" fmla="*/ 1445741 h 4137945"/>
              <a:gd name="connsiteX115" fmla="*/ 4577617 w 5893971"/>
              <a:gd name="connsiteY115" fmla="*/ 1438970 h 4137945"/>
              <a:gd name="connsiteX116" fmla="*/ 4570846 w 5893971"/>
              <a:gd name="connsiteY116" fmla="*/ 1445741 h 4137945"/>
              <a:gd name="connsiteX117" fmla="*/ 4574957 w 5893971"/>
              <a:gd name="connsiteY117" fmla="*/ 1452029 h 4137945"/>
              <a:gd name="connsiteX118" fmla="*/ 4574957 w 5893971"/>
              <a:gd name="connsiteY118" fmla="*/ 1462429 h 4137945"/>
              <a:gd name="connsiteX119" fmla="*/ 4570846 w 5893971"/>
              <a:gd name="connsiteY119" fmla="*/ 1468717 h 4137945"/>
              <a:gd name="connsiteX120" fmla="*/ 4574957 w 5893971"/>
              <a:gd name="connsiteY120" fmla="*/ 1475005 h 4137945"/>
              <a:gd name="connsiteX121" fmla="*/ 4574957 w 5893971"/>
              <a:gd name="connsiteY121" fmla="*/ 1482744 h 4137945"/>
              <a:gd name="connsiteX122" fmla="*/ 4570846 w 5893971"/>
              <a:gd name="connsiteY122" fmla="*/ 1489031 h 4137945"/>
              <a:gd name="connsiteX123" fmla="*/ 4574957 w 5893971"/>
              <a:gd name="connsiteY123" fmla="*/ 1495319 h 4137945"/>
              <a:gd name="connsiteX124" fmla="*/ 4574957 w 5893971"/>
              <a:gd name="connsiteY124" fmla="*/ 1502816 h 4137945"/>
              <a:gd name="connsiteX125" fmla="*/ 4522235 w 5893971"/>
              <a:gd name="connsiteY125" fmla="*/ 1556748 h 4137945"/>
              <a:gd name="connsiteX126" fmla="*/ 4516672 w 5893971"/>
              <a:gd name="connsiteY126" fmla="*/ 1589397 h 4137945"/>
              <a:gd name="connsiteX127" fmla="*/ 4506515 w 5893971"/>
              <a:gd name="connsiteY127" fmla="*/ 1592299 h 4137945"/>
              <a:gd name="connsiteX128" fmla="*/ 4483540 w 5893971"/>
              <a:gd name="connsiteY128" fmla="*/ 1612855 h 4137945"/>
              <a:gd name="connsiteX129" fmla="*/ 4483540 w 5893971"/>
              <a:gd name="connsiteY129" fmla="*/ 1612855 h 4137945"/>
              <a:gd name="connsiteX130" fmla="*/ 4483540 w 5893971"/>
              <a:gd name="connsiteY130" fmla="*/ 1612855 h 4137945"/>
              <a:gd name="connsiteX131" fmla="*/ 4516431 w 5893971"/>
              <a:gd name="connsiteY131" fmla="*/ 1628817 h 4137945"/>
              <a:gd name="connsiteX132" fmla="*/ 4516431 w 5893971"/>
              <a:gd name="connsiteY132" fmla="*/ 1694840 h 4137945"/>
              <a:gd name="connsiteX133" fmla="*/ 4502646 w 5893971"/>
              <a:gd name="connsiteY133" fmla="*/ 1704272 h 4137945"/>
              <a:gd name="connsiteX134" fmla="*/ 4491521 w 5893971"/>
              <a:gd name="connsiteY134" fmla="*/ 1725555 h 4137945"/>
              <a:gd name="connsiteX135" fmla="*/ 4491521 w 5893971"/>
              <a:gd name="connsiteY135" fmla="*/ 1725555 h 4137945"/>
              <a:gd name="connsiteX136" fmla="*/ 4491521 w 5893971"/>
              <a:gd name="connsiteY136" fmla="*/ 1725555 h 4137945"/>
              <a:gd name="connsiteX137" fmla="*/ 4502646 w 5893971"/>
              <a:gd name="connsiteY137" fmla="*/ 1746837 h 4137945"/>
              <a:gd name="connsiteX138" fmla="*/ 4516431 w 5893971"/>
              <a:gd name="connsiteY138" fmla="*/ 1756269 h 4137945"/>
              <a:gd name="connsiteX139" fmla="*/ 4500711 w 5893971"/>
              <a:gd name="connsiteY139" fmla="*/ 2075744 h 4137945"/>
              <a:gd name="connsiteX140" fmla="*/ 4483540 w 5893971"/>
              <a:gd name="connsiteY140" fmla="*/ 2103556 h 4137945"/>
              <a:gd name="connsiteX141" fmla="*/ 4483540 w 5893971"/>
              <a:gd name="connsiteY141" fmla="*/ 2103798 h 4137945"/>
              <a:gd name="connsiteX142" fmla="*/ 4483540 w 5893971"/>
              <a:gd name="connsiteY142" fmla="*/ 2106458 h 4137945"/>
              <a:gd name="connsiteX143" fmla="*/ 4483540 w 5893971"/>
              <a:gd name="connsiteY143" fmla="*/ 2106700 h 4137945"/>
              <a:gd name="connsiteX144" fmla="*/ 4497325 w 5893971"/>
              <a:gd name="connsiteY144" fmla="*/ 2132577 h 4137945"/>
              <a:gd name="connsiteX145" fmla="*/ 4500711 w 5893971"/>
              <a:gd name="connsiteY145" fmla="*/ 2134754 h 4137945"/>
              <a:gd name="connsiteX146" fmla="*/ 4490795 w 5893971"/>
              <a:gd name="connsiteY146" fmla="*/ 2422790 h 4137945"/>
              <a:gd name="connsiteX147" fmla="*/ 4484991 w 5893971"/>
              <a:gd name="connsiteY147" fmla="*/ 2424483 h 4137945"/>
              <a:gd name="connsiteX148" fmla="*/ 4466369 w 5893971"/>
              <a:gd name="connsiteY148" fmla="*/ 2449151 h 4137945"/>
              <a:gd name="connsiteX149" fmla="*/ 4466369 w 5893971"/>
              <a:gd name="connsiteY149" fmla="*/ 2449151 h 4137945"/>
              <a:gd name="connsiteX150" fmla="*/ 4466369 w 5893971"/>
              <a:gd name="connsiteY150" fmla="*/ 2449151 h 4137945"/>
              <a:gd name="connsiteX151" fmla="*/ 4473866 w 5893971"/>
              <a:gd name="connsiteY151" fmla="*/ 2467289 h 4137945"/>
              <a:gd name="connsiteX152" fmla="*/ 4483540 w 5893971"/>
              <a:gd name="connsiteY152" fmla="*/ 2476963 h 4137945"/>
              <a:gd name="connsiteX153" fmla="*/ 4475559 w 5893971"/>
              <a:gd name="connsiteY153" fmla="*/ 2690027 h 4137945"/>
              <a:gd name="connsiteX154" fmla="*/ 4311589 w 5893971"/>
              <a:gd name="connsiteY154" fmla="*/ 2690027 h 4137945"/>
              <a:gd name="connsiteX155" fmla="*/ 4311589 w 5893971"/>
              <a:gd name="connsiteY155" fmla="*/ 1843091 h 4137945"/>
              <a:gd name="connsiteX156" fmla="*/ 4311589 w 5893971"/>
              <a:gd name="connsiteY156" fmla="*/ 1743209 h 4137945"/>
              <a:gd name="connsiteX157" fmla="*/ 4311589 w 5893971"/>
              <a:gd name="connsiteY157" fmla="*/ 1562552 h 4137945"/>
              <a:gd name="connsiteX158" fmla="*/ 4318361 w 5893971"/>
              <a:gd name="connsiteY158" fmla="*/ 1562552 h 4137945"/>
              <a:gd name="connsiteX159" fmla="*/ 4323439 w 5893971"/>
              <a:gd name="connsiteY159" fmla="*/ 1557473 h 4137945"/>
              <a:gd name="connsiteX160" fmla="*/ 4318361 w 5893971"/>
              <a:gd name="connsiteY160" fmla="*/ 1552395 h 4137945"/>
              <a:gd name="connsiteX161" fmla="*/ 4311589 w 5893971"/>
              <a:gd name="connsiteY161" fmla="*/ 1552395 h 4137945"/>
              <a:gd name="connsiteX162" fmla="*/ 4311589 w 5893971"/>
              <a:gd name="connsiteY162" fmla="*/ 1550702 h 4137945"/>
              <a:gd name="connsiteX163" fmla="*/ 4298529 w 5893971"/>
              <a:gd name="connsiteY163" fmla="*/ 1534740 h 4137945"/>
              <a:gd name="connsiteX164" fmla="*/ 4298529 w 5893971"/>
              <a:gd name="connsiteY164" fmla="*/ 1495561 h 4137945"/>
              <a:gd name="connsiteX165" fmla="*/ 4295869 w 5893971"/>
              <a:gd name="connsiteY165" fmla="*/ 1492901 h 4137945"/>
              <a:gd name="connsiteX166" fmla="*/ 4293209 w 5893971"/>
              <a:gd name="connsiteY166" fmla="*/ 1495561 h 4137945"/>
              <a:gd name="connsiteX167" fmla="*/ 4293209 w 5893971"/>
              <a:gd name="connsiteY167" fmla="*/ 1534498 h 4137945"/>
              <a:gd name="connsiteX168" fmla="*/ 4279424 w 5893971"/>
              <a:gd name="connsiteY168" fmla="*/ 1550460 h 4137945"/>
              <a:gd name="connsiteX169" fmla="*/ 4279424 w 5893971"/>
              <a:gd name="connsiteY169" fmla="*/ 1552153 h 4137945"/>
              <a:gd name="connsiteX170" fmla="*/ 4272652 w 5893971"/>
              <a:gd name="connsiteY170" fmla="*/ 1552153 h 4137945"/>
              <a:gd name="connsiteX171" fmla="*/ 4267573 w 5893971"/>
              <a:gd name="connsiteY171" fmla="*/ 1557231 h 4137945"/>
              <a:gd name="connsiteX172" fmla="*/ 4272652 w 5893971"/>
              <a:gd name="connsiteY172" fmla="*/ 1562310 h 4137945"/>
              <a:gd name="connsiteX173" fmla="*/ 4279424 w 5893971"/>
              <a:gd name="connsiteY173" fmla="*/ 1562310 h 4137945"/>
              <a:gd name="connsiteX174" fmla="*/ 4279424 w 5893971"/>
              <a:gd name="connsiteY174" fmla="*/ 1735954 h 4137945"/>
              <a:gd name="connsiteX175" fmla="*/ 4248710 w 5893971"/>
              <a:gd name="connsiteY175" fmla="*/ 1729424 h 4137945"/>
              <a:gd name="connsiteX176" fmla="*/ 4248710 w 5893971"/>
              <a:gd name="connsiteY176" fmla="*/ 1416962 h 4137945"/>
              <a:gd name="connsiteX177" fmla="*/ 4255481 w 5893971"/>
              <a:gd name="connsiteY177" fmla="*/ 1416962 h 4137945"/>
              <a:gd name="connsiteX178" fmla="*/ 4260560 w 5893971"/>
              <a:gd name="connsiteY178" fmla="*/ 1411883 h 4137945"/>
              <a:gd name="connsiteX179" fmla="*/ 4255481 w 5893971"/>
              <a:gd name="connsiteY179" fmla="*/ 1406805 h 4137945"/>
              <a:gd name="connsiteX180" fmla="*/ 4248710 w 5893971"/>
              <a:gd name="connsiteY180" fmla="*/ 1406805 h 4137945"/>
              <a:gd name="connsiteX181" fmla="*/ 4248710 w 5893971"/>
              <a:gd name="connsiteY181" fmla="*/ 1405112 h 4137945"/>
              <a:gd name="connsiteX182" fmla="*/ 4235650 w 5893971"/>
              <a:gd name="connsiteY182" fmla="*/ 1389150 h 4137945"/>
              <a:gd name="connsiteX183" fmla="*/ 4235650 w 5893971"/>
              <a:gd name="connsiteY183" fmla="*/ 1349971 h 4137945"/>
              <a:gd name="connsiteX184" fmla="*/ 4232990 w 5893971"/>
              <a:gd name="connsiteY184" fmla="*/ 1347311 h 4137945"/>
              <a:gd name="connsiteX185" fmla="*/ 4230329 w 5893971"/>
              <a:gd name="connsiteY185" fmla="*/ 1349971 h 4137945"/>
              <a:gd name="connsiteX186" fmla="*/ 4230329 w 5893971"/>
              <a:gd name="connsiteY186" fmla="*/ 1388908 h 4137945"/>
              <a:gd name="connsiteX187" fmla="*/ 4216544 w 5893971"/>
              <a:gd name="connsiteY187" fmla="*/ 1404870 h 4137945"/>
              <a:gd name="connsiteX188" fmla="*/ 4216544 w 5893971"/>
              <a:gd name="connsiteY188" fmla="*/ 1406563 h 4137945"/>
              <a:gd name="connsiteX189" fmla="*/ 4209773 w 5893971"/>
              <a:gd name="connsiteY189" fmla="*/ 1406563 h 4137945"/>
              <a:gd name="connsiteX190" fmla="*/ 4204694 w 5893971"/>
              <a:gd name="connsiteY190" fmla="*/ 1411641 h 4137945"/>
              <a:gd name="connsiteX191" fmla="*/ 4209773 w 5893971"/>
              <a:gd name="connsiteY191" fmla="*/ 1416720 h 4137945"/>
              <a:gd name="connsiteX192" fmla="*/ 4216544 w 5893971"/>
              <a:gd name="connsiteY192" fmla="*/ 1416720 h 4137945"/>
              <a:gd name="connsiteX193" fmla="*/ 4216544 w 5893971"/>
              <a:gd name="connsiteY193" fmla="*/ 1586736 h 4137945"/>
              <a:gd name="connsiteX194" fmla="*/ 4152698 w 5893971"/>
              <a:gd name="connsiteY194" fmla="*/ 1586736 h 4137945"/>
              <a:gd name="connsiteX195" fmla="*/ 4123918 w 5893971"/>
              <a:gd name="connsiteY195" fmla="*/ 1625673 h 4137945"/>
              <a:gd name="connsiteX196" fmla="*/ 4123918 w 5893971"/>
              <a:gd name="connsiteY196" fmla="*/ 1591815 h 4137945"/>
              <a:gd name="connsiteX197" fmla="*/ 4130690 w 5893971"/>
              <a:gd name="connsiteY197" fmla="*/ 1591815 h 4137945"/>
              <a:gd name="connsiteX198" fmla="*/ 4135769 w 5893971"/>
              <a:gd name="connsiteY198" fmla="*/ 1586736 h 4137945"/>
              <a:gd name="connsiteX199" fmla="*/ 4130690 w 5893971"/>
              <a:gd name="connsiteY199" fmla="*/ 1581658 h 4137945"/>
              <a:gd name="connsiteX200" fmla="*/ 4123918 w 5893971"/>
              <a:gd name="connsiteY200" fmla="*/ 1581658 h 4137945"/>
              <a:gd name="connsiteX201" fmla="*/ 4123918 w 5893971"/>
              <a:gd name="connsiteY201" fmla="*/ 1579965 h 4137945"/>
              <a:gd name="connsiteX202" fmla="*/ 4110859 w 5893971"/>
              <a:gd name="connsiteY202" fmla="*/ 1564003 h 4137945"/>
              <a:gd name="connsiteX203" fmla="*/ 4110859 w 5893971"/>
              <a:gd name="connsiteY203" fmla="*/ 1524824 h 4137945"/>
              <a:gd name="connsiteX204" fmla="*/ 4108198 w 5893971"/>
              <a:gd name="connsiteY204" fmla="*/ 1522164 h 4137945"/>
              <a:gd name="connsiteX205" fmla="*/ 4105538 w 5893971"/>
              <a:gd name="connsiteY205" fmla="*/ 1524824 h 4137945"/>
              <a:gd name="connsiteX206" fmla="*/ 4105538 w 5893971"/>
              <a:gd name="connsiteY206" fmla="*/ 1563761 h 4137945"/>
              <a:gd name="connsiteX207" fmla="*/ 4091753 w 5893971"/>
              <a:gd name="connsiteY207" fmla="*/ 1579723 h 4137945"/>
              <a:gd name="connsiteX208" fmla="*/ 4091753 w 5893971"/>
              <a:gd name="connsiteY208" fmla="*/ 1581416 h 4137945"/>
              <a:gd name="connsiteX209" fmla="*/ 4084981 w 5893971"/>
              <a:gd name="connsiteY209" fmla="*/ 1581416 h 4137945"/>
              <a:gd name="connsiteX210" fmla="*/ 4079903 w 5893971"/>
              <a:gd name="connsiteY210" fmla="*/ 1586495 h 4137945"/>
              <a:gd name="connsiteX211" fmla="*/ 4084981 w 5893971"/>
              <a:gd name="connsiteY211" fmla="*/ 1591573 h 4137945"/>
              <a:gd name="connsiteX212" fmla="*/ 4091753 w 5893971"/>
              <a:gd name="connsiteY212" fmla="*/ 1591573 h 4137945"/>
              <a:gd name="connsiteX213" fmla="*/ 4091753 w 5893971"/>
              <a:gd name="connsiteY213" fmla="*/ 1669447 h 4137945"/>
              <a:gd name="connsiteX214" fmla="*/ 4074824 w 5893971"/>
              <a:gd name="connsiteY214" fmla="*/ 1692664 h 4137945"/>
              <a:gd name="connsiteX215" fmla="*/ 4023795 w 5893971"/>
              <a:gd name="connsiteY215" fmla="*/ 1681781 h 4137945"/>
              <a:gd name="connsiteX216" fmla="*/ 4023795 w 5893971"/>
              <a:gd name="connsiteY216" fmla="*/ 1475730 h 4137945"/>
              <a:gd name="connsiteX217" fmla="*/ 4030566 w 5893971"/>
              <a:gd name="connsiteY217" fmla="*/ 1475730 h 4137945"/>
              <a:gd name="connsiteX218" fmla="*/ 4035645 w 5893971"/>
              <a:gd name="connsiteY218" fmla="*/ 1470651 h 4137945"/>
              <a:gd name="connsiteX219" fmla="*/ 4030566 w 5893971"/>
              <a:gd name="connsiteY219" fmla="*/ 1465573 h 4137945"/>
              <a:gd name="connsiteX220" fmla="*/ 4023795 w 5893971"/>
              <a:gd name="connsiteY220" fmla="*/ 1465573 h 4137945"/>
              <a:gd name="connsiteX221" fmla="*/ 4023795 w 5893971"/>
              <a:gd name="connsiteY221" fmla="*/ 1463880 h 4137945"/>
              <a:gd name="connsiteX222" fmla="*/ 4010735 w 5893971"/>
              <a:gd name="connsiteY222" fmla="*/ 1447918 h 4137945"/>
              <a:gd name="connsiteX223" fmla="*/ 4010735 w 5893971"/>
              <a:gd name="connsiteY223" fmla="*/ 1408739 h 4137945"/>
              <a:gd name="connsiteX224" fmla="*/ 4008075 w 5893971"/>
              <a:gd name="connsiteY224" fmla="*/ 1406079 h 4137945"/>
              <a:gd name="connsiteX225" fmla="*/ 4005415 w 5893971"/>
              <a:gd name="connsiteY225" fmla="*/ 1408739 h 4137945"/>
              <a:gd name="connsiteX226" fmla="*/ 4005415 w 5893971"/>
              <a:gd name="connsiteY226" fmla="*/ 1447676 h 4137945"/>
              <a:gd name="connsiteX227" fmla="*/ 3991630 w 5893971"/>
              <a:gd name="connsiteY227" fmla="*/ 1463638 h 4137945"/>
              <a:gd name="connsiteX228" fmla="*/ 3991630 w 5893971"/>
              <a:gd name="connsiteY228" fmla="*/ 1465331 h 4137945"/>
              <a:gd name="connsiteX229" fmla="*/ 3984858 w 5893971"/>
              <a:gd name="connsiteY229" fmla="*/ 1465331 h 4137945"/>
              <a:gd name="connsiteX230" fmla="*/ 3979780 w 5893971"/>
              <a:gd name="connsiteY230" fmla="*/ 1470410 h 4137945"/>
              <a:gd name="connsiteX231" fmla="*/ 3984858 w 5893971"/>
              <a:gd name="connsiteY231" fmla="*/ 1475488 h 4137945"/>
              <a:gd name="connsiteX232" fmla="*/ 3991630 w 5893971"/>
              <a:gd name="connsiteY232" fmla="*/ 1475488 h 4137945"/>
              <a:gd name="connsiteX233" fmla="*/ 3991630 w 5893971"/>
              <a:gd name="connsiteY233" fmla="*/ 1675009 h 4137945"/>
              <a:gd name="connsiteX234" fmla="*/ 3920528 w 5893971"/>
              <a:gd name="connsiteY234" fmla="*/ 1675009 h 4137945"/>
              <a:gd name="connsiteX235" fmla="*/ 3920528 w 5893971"/>
              <a:gd name="connsiteY235" fmla="*/ 1533531 h 4137945"/>
              <a:gd name="connsiteX236" fmla="*/ 3961157 w 5893971"/>
              <a:gd name="connsiteY236" fmla="*/ 1533531 h 4137945"/>
              <a:gd name="connsiteX237" fmla="*/ 3980021 w 5893971"/>
              <a:gd name="connsiteY237" fmla="*/ 1486613 h 4137945"/>
              <a:gd name="connsiteX238" fmla="*/ 3920770 w 5893971"/>
              <a:gd name="connsiteY238" fmla="*/ 1471619 h 4137945"/>
              <a:gd name="connsiteX239" fmla="*/ 3920770 w 5893971"/>
              <a:gd name="connsiteY239" fmla="*/ 1417204 h 4137945"/>
              <a:gd name="connsiteX240" fmla="*/ 3910612 w 5893971"/>
              <a:gd name="connsiteY240" fmla="*/ 1417204 h 4137945"/>
              <a:gd name="connsiteX241" fmla="*/ 3887879 w 5893971"/>
              <a:gd name="connsiteY241" fmla="*/ 1322885 h 4137945"/>
              <a:gd name="connsiteX242" fmla="*/ 3837092 w 5893971"/>
              <a:gd name="connsiteY242" fmla="*/ 1274516 h 4137945"/>
              <a:gd name="connsiteX243" fmla="*/ 3773003 w 5893971"/>
              <a:gd name="connsiteY243" fmla="*/ 1228566 h 4137945"/>
              <a:gd name="connsiteX244" fmla="*/ 3718347 w 5893971"/>
              <a:gd name="connsiteY244" fmla="*/ 1183583 h 4137945"/>
              <a:gd name="connsiteX245" fmla="*/ 3718347 w 5893971"/>
              <a:gd name="connsiteY245" fmla="*/ 1169556 h 4137945"/>
              <a:gd name="connsiteX246" fmla="*/ 3727778 w 5893971"/>
              <a:gd name="connsiteY246" fmla="*/ 1157706 h 4137945"/>
              <a:gd name="connsiteX247" fmla="*/ 3718347 w 5893971"/>
              <a:gd name="connsiteY247" fmla="*/ 1145855 h 4137945"/>
              <a:gd name="connsiteX248" fmla="*/ 3718347 w 5893971"/>
              <a:gd name="connsiteY248" fmla="*/ 1127959 h 4137945"/>
              <a:gd name="connsiteX249" fmla="*/ 3723183 w 5893971"/>
              <a:gd name="connsiteY249" fmla="*/ 1120945 h 4137945"/>
              <a:gd name="connsiteX250" fmla="*/ 3718347 w 5893971"/>
              <a:gd name="connsiteY250" fmla="*/ 1113932 h 4137945"/>
              <a:gd name="connsiteX251" fmla="*/ 3718347 w 5893971"/>
              <a:gd name="connsiteY251" fmla="*/ 1097245 h 4137945"/>
              <a:gd name="connsiteX252" fmla="*/ 3719798 w 5893971"/>
              <a:gd name="connsiteY252" fmla="*/ 1094101 h 4137945"/>
              <a:gd name="connsiteX253" fmla="*/ 3715444 w 5893971"/>
              <a:gd name="connsiteY253" fmla="*/ 1089748 h 4137945"/>
              <a:gd name="connsiteX254" fmla="*/ 3711091 w 5893971"/>
              <a:gd name="connsiteY254" fmla="*/ 1094101 h 4137945"/>
              <a:gd name="connsiteX255" fmla="*/ 3712542 w 5893971"/>
              <a:gd name="connsiteY255" fmla="*/ 1097245 h 4137945"/>
              <a:gd name="connsiteX256" fmla="*/ 3712542 w 5893971"/>
              <a:gd name="connsiteY256" fmla="*/ 1113932 h 4137945"/>
              <a:gd name="connsiteX257" fmla="*/ 3707705 w 5893971"/>
              <a:gd name="connsiteY257" fmla="*/ 1120945 h 4137945"/>
              <a:gd name="connsiteX258" fmla="*/ 3712542 w 5893971"/>
              <a:gd name="connsiteY258" fmla="*/ 1127959 h 4137945"/>
              <a:gd name="connsiteX259" fmla="*/ 3712542 w 5893971"/>
              <a:gd name="connsiteY259" fmla="*/ 1145855 h 4137945"/>
              <a:gd name="connsiteX260" fmla="*/ 3703110 w 5893971"/>
              <a:gd name="connsiteY260" fmla="*/ 1157706 h 4137945"/>
              <a:gd name="connsiteX261" fmla="*/ 3712542 w 5893971"/>
              <a:gd name="connsiteY261" fmla="*/ 1169556 h 4137945"/>
              <a:gd name="connsiteX262" fmla="*/ 3712542 w 5893971"/>
              <a:gd name="connsiteY262" fmla="*/ 1183583 h 4137945"/>
              <a:gd name="connsiteX263" fmla="*/ 3657886 w 5893971"/>
              <a:gd name="connsiteY263" fmla="*/ 1228566 h 4137945"/>
              <a:gd name="connsiteX264" fmla="*/ 3593797 w 5893971"/>
              <a:gd name="connsiteY264" fmla="*/ 1274516 h 4137945"/>
              <a:gd name="connsiteX265" fmla="*/ 3543010 w 5893971"/>
              <a:gd name="connsiteY265" fmla="*/ 1322885 h 4137945"/>
              <a:gd name="connsiteX266" fmla="*/ 3532610 w 5893971"/>
              <a:gd name="connsiteY266" fmla="*/ 862656 h 4137945"/>
              <a:gd name="connsiteX267" fmla="*/ 3267792 w 5893971"/>
              <a:gd name="connsiteY267" fmla="*/ 566156 h 4137945"/>
              <a:gd name="connsiteX268" fmla="*/ 3158962 w 5893971"/>
              <a:gd name="connsiteY268" fmla="*/ 480301 h 4137945"/>
              <a:gd name="connsiteX269" fmla="*/ 3017725 w 5893971"/>
              <a:gd name="connsiteY269" fmla="*/ 361073 h 4137945"/>
              <a:gd name="connsiteX270" fmla="*/ 2957506 w 5893971"/>
              <a:gd name="connsiteY270" fmla="*/ 291663 h 4137945"/>
              <a:gd name="connsiteX271" fmla="*/ 2979514 w 5893971"/>
              <a:gd name="connsiteY271" fmla="*/ 261191 h 4137945"/>
              <a:gd name="connsiteX272" fmla="*/ 2956539 w 5893971"/>
              <a:gd name="connsiteY272" fmla="*/ 230477 h 4137945"/>
              <a:gd name="connsiteX273" fmla="*/ 2983625 w 5893971"/>
              <a:gd name="connsiteY273" fmla="*/ 195652 h 4137945"/>
              <a:gd name="connsiteX274" fmla="*/ 2954362 w 5893971"/>
              <a:gd name="connsiteY274" fmla="*/ 149943 h 4137945"/>
              <a:gd name="connsiteX275" fmla="*/ 2954362 w 5893971"/>
              <a:gd name="connsiteY275" fmla="*/ 127210 h 4137945"/>
              <a:gd name="connsiteX276" fmla="*/ 2965245 w 5893971"/>
              <a:gd name="connsiteY276" fmla="*/ 110764 h 4137945"/>
              <a:gd name="connsiteX277" fmla="*/ 2954362 w 5893971"/>
              <a:gd name="connsiteY277" fmla="*/ 94319 h 4137945"/>
              <a:gd name="connsiteX278" fmla="*/ 2954362 w 5893971"/>
              <a:gd name="connsiteY278" fmla="*/ 73037 h 4137945"/>
              <a:gd name="connsiteX279" fmla="*/ 2990155 w 5893971"/>
              <a:gd name="connsiteY279" fmla="*/ 41597 h 4137945"/>
              <a:gd name="connsiteX280" fmla="*/ 2989430 w 5893971"/>
              <a:gd name="connsiteY280" fmla="*/ 35793 h 4137945"/>
              <a:gd name="connsiteX281" fmla="*/ 2954362 w 5893971"/>
              <a:gd name="connsiteY281" fmla="*/ 61428 h 4137945"/>
              <a:gd name="connsiteX282" fmla="*/ 2954362 w 5893971"/>
              <a:gd name="connsiteY282" fmla="*/ 46434 h 4137945"/>
              <a:gd name="connsiteX283" fmla="*/ 2949767 w 5893971"/>
              <a:gd name="connsiteY283" fmla="*/ 40146 h 4137945"/>
              <a:gd name="connsiteX284" fmla="*/ 2949767 w 5893971"/>
              <a:gd name="connsiteY284" fmla="*/ 2177 h 4137945"/>
              <a:gd name="connsiteX285" fmla="*/ 2947591 w 5893971"/>
              <a:gd name="connsiteY285" fmla="*/ 0 h 4137945"/>
              <a:gd name="connsiteX286" fmla="*/ 2945414 w 5893971"/>
              <a:gd name="connsiteY286" fmla="*/ 2177 h 4137945"/>
              <a:gd name="connsiteX287" fmla="*/ 2945414 w 5893971"/>
              <a:gd name="connsiteY287" fmla="*/ 40146 h 4137945"/>
              <a:gd name="connsiteX288" fmla="*/ 2940819 w 5893971"/>
              <a:gd name="connsiteY288" fmla="*/ 46434 h 4137945"/>
              <a:gd name="connsiteX289" fmla="*/ 2940819 w 5893971"/>
              <a:gd name="connsiteY289" fmla="*/ 61428 h 4137945"/>
              <a:gd name="connsiteX290" fmla="*/ 2905752 w 5893971"/>
              <a:gd name="connsiteY290" fmla="*/ 35793 h 4137945"/>
              <a:gd name="connsiteX291" fmla="*/ 2905026 w 5893971"/>
              <a:gd name="connsiteY291" fmla="*/ 41597 h 4137945"/>
              <a:gd name="connsiteX292" fmla="*/ 2940819 w 5893971"/>
              <a:gd name="connsiteY292" fmla="*/ 73037 h 4137945"/>
              <a:gd name="connsiteX293" fmla="*/ 2940819 w 5893971"/>
              <a:gd name="connsiteY293" fmla="*/ 95286 h 4137945"/>
              <a:gd name="connsiteX294" fmla="*/ 2929936 w 5893971"/>
              <a:gd name="connsiteY294" fmla="*/ 111732 h 4137945"/>
              <a:gd name="connsiteX295" fmla="*/ 2940819 w 5893971"/>
              <a:gd name="connsiteY295" fmla="*/ 128177 h 4137945"/>
              <a:gd name="connsiteX296" fmla="*/ 2940819 w 5893971"/>
              <a:gd name="connsiteY296" fmla="*/ 150910 h 4137945"/>
              <a:gd name="connsiteX297" fmla="*/ 2911556 w 5893971"/>
              <a:gd name="connsiteY297" fmla="*/ 196619 h 4137945"/>
              <a:gd name="connsiteX298" fmla="*/ 2938642 w 5893971"/>
              <a:gd name="connsiteY298" fmla="*/ 231444 h 4137945"/>
              <a:gd name="connsiteX299" fmla="*/ 2915667 w 5893971"/>
              <a:gd name="connsiteY299" fmla="*/ 262159 h 4137945"/>
              <a:gd name="connsiteX300" fmla="*/ 2937675 w 5893971"/>
              <a:gd name="connsiteY300" fmla="*/ 292631 h 4137945"/>
              <a:gd name="connsiteX301" fmla="*/ 2877456 w 5893971"/>
              <a:gd name="connsiteY301" fmla="*/ 362040 h 4137945"/>
              <a:gd name="connsiteX302" fmla="*/ 2736219 w 5893971"/>
              <a:gd name="connsiteY302" fmla="*/ 481269 h 4137945"/>
              <a:gd name="connsiteX303" fmla="*/ 2627390 w 5893971"/>
              <a:gd name="connsiteY303" fmla="*/ 567123 h 4137945"/>
              <a:gd name="connsiteX304" fmla="*/ 2362571 w 5893971"/>
              <a:gd name="connsiteY304" fmla="*/ 863624 h 4137945"/>
              <a:gd name="connsiteX305" fmla="*/ 2352172 w 5893971"/>
              <a:gd name="connsiteY305" fmla="*/ 1323852 h 4137945"/>
              <a:gd name="connsiteX306" fmla="*/ 2301384 w 5893971"/>
              <a:gd name="connsiteY306" fmla="*/ 1275484 h 4137945"/>
              <a:gd name="connsiteX307" fmla="*/ 2237296 w 5893971"/>
              <a:gd name="connsiteY307" fmla="*/ 1229533 h 4137945"/>
              <a:gd name="connsiteX308" fmla="*/ 2182639 w 5893971"/>
              <a:gd name="connsiteY308" fmla="*/ 1184550 h 4137945"/>
              <a:gd name="connsiteX309" fmla="*/ 2182639 w 5893971"/>
              <a:gd name="connsiteY309" fmla="*/ 1170523 h 4137945"/>
              <a:gd name="connsiteX310" fmla="*/ 2192071 w 5893971"/>
              <a:gd name="connsiteY310" fmla="*/ 1158673 h 4137945"/>
              <a:gd name="connsiteX311" fmla="*/ 2182639 w 5893971"/>
              <a:gd name="connsiteY311" fmla="*/ 1146823 h 4137945"/>
              <a:gd name="connsiteX312" fmla="*/ 2182639 w 5893971"/>
              <a:gd name="connsiteY312" fmla="*/ 1128926 h 4137945"/>
              <a:gd name="connsiteX313" fmla="*/ 2187476 w 5893971"/>
              <a:gd name="connsiteY313" fmla="*/ 1121913 h 4137945"/>
              <a:gd name="connsiteX314" fmla="*/ 2182639 w 5893971"/>
              <a:gd name="connsiteY314" fmla="*/ 1114899 h 4137945"/>
              <a:gd name="connsiteX315" fmla="*/ 2182639 w 5893971"/>
              <a:gd name="connsiteY315" fmla="*/ 1098212 h 4137945"/>
              <a:gd name="connsiteX316" fmla="*/ 2184090 w 5893971"/>
              <a:gd name="connsiteY316" fmla="*/ 1095068 h 4137945"/>
              <a:gd name="connsiteX317" fmla="*/ 2179737 w 5893971"/>
              <a:gd name="connsiteY317" fmla="*/ 1090715 h 4137945"/>
              <a:gd name="connsiteX318" fmla="*/ 2175384 w 5893971"/>
              <a:gd name="connsiteY318" fmla="*/ 1095068 h 4137945"/>
              <a:gd name="connsiteX319" fmla="*/ 2176835 w 5893971"/>
              <a:gd name="connsiteY319" fmla="*/ 1098212 h 4137945"/>
              <a:gd name="connsiteX320" fmla="*/ 2176835 w 5893971"/>
              <a:gd name="connsiteY320" fmla="*/ 1114899 h 4137945"/>
              <a:gd name="connsiteX321" fmla="*/ 2171998 w 5893971"/>
              <a:gd name="connsiteY321" fmla="*/ 1121913 h 4137945"/>
              <a:gd name="connsiteX322" fmla="*/ 2176835 w 5893971"/>
              <a:gd name="connsiteY322" fmla="*/ 1128926 h 4137945"/>
              <a:gd name="connsiteX323" fmla="*/ 2176835 w 5893971"/>
              <a:gd name="connsiteY323" fmla="*/ 1146823 h 4137945"/>
              <a:gd name="connsiteX324" fmla="*/ 2167403 w 5893971"/>
              <a:gd name="connsiteY324" fmla="*/ 1158673 h 4137945"/>
              <a:gd name="connsiteX325" fmla="*/ 2176835 w 5893971"/>
              <a:gd name="connsiteY325" fmla="*/ 1170523 h 4137945"/>
              <a:gd name="connsiteX326" fmla="*/ 2176835 w 5893971"/>
              <a:gd name="connsiteY326" fmla="*/ 1184550 h 4137945"/>
              <a:gd name="connsiteX327" fmla="*/ 2122178 w 5893971"/>
              <a:gd name="connsiteY327" fmla="*/ 1229533 h 4137945"/>
              <a:gd name="connsiteX328" fmla="*/ 2058090 w 5893971"/>
              <a:gd name="connsiteY328" fmla="*/ 1275484 h 4137945"/>
              <a:gd name="connsiteX329" fmla="*/ 2007303 w 5893971"/>
              <a:gd name="connsiteY329" fmla="*/ 1323852 h 4137945"/>
              <a:gd name="connsiteX330" fmla="*/ 1984569 w 5893971"/>
              <a:gd name="connsiteY330" fmla="*/ 1418171 h 4137945"/>
              <a:gd name="connsiteX331" fmla="*/ 1974412 w 5893971"/>
              <a:gd name="connsiteY331" fmla="*/ 1418171 h 4137945"/>
              <a:gd name="connsiteX332" fmla="*/ 1974412 w 5893971"/>
              <a:gd name="connsiteY332" fmla="*/ 1472586 h 4137945"/>
              <a:gd name="connsiteX333" fmla="*/ 1915160 w 5893971"/>
              <a:gd name="connsiteY333" fmla="*/ 1487580 h 4137945"/>
              <a:gd name="connsiteX334" fmla="*/ 1934024 w 5893971"/>
              <a:gd name="connsiteY334" fmla="*/ 1534498 h 4137945"/>
              <a:gd name="connsiteX335" fmla="*/ 1974654 w 5893971"/>
              <a:gd name="connsiteY335" fmla="*/ 1534498 h 4137945"/>
              <a:gd name="connsiteX336" fmla="*/ 1974654 w 5893971"/>
              <a:gd name="connsiteY336" fmla="*/ 1675977 h 4137945"/>
              <a:gd name="connsiteX337" fmla="*/ 1903551 w 5893971"/>
              <a:gd name="connsiteY337" fmla="*/ 1675977 h 4137945"/>
              <a:gd name="connsiteX338" fmla="*/ 1903551 w 5893971"/>
              <a:gd name="connsiteY338" fmla="*/ 1476456 h 4137945"/>
              <a:gd name="connsiteX339" fmla="*/ 1910323 w 5893971"/>
              <a:gd name="connsiteY339" fmla="*/ 1476456 h 4137945"/>
              <a:gd name="connsiteX340" fmla="*/ 1915402 w 5893971"/>
              <a:gd name="connsiteY340" fmla="*/ 1471377 h 4137945"/>
              <a:gd name="connsiteX341" fmla="*/ 1910323 w 5893971"/>
              <a:gd name="connsiteY341" fmla="*/ 1466298 h 4137945"/>
              <a:gd name="connsiteX342" fmla="*/ 1903551 w 5893971"/>
              <a:gd name="connsiteY342" fmla="*/ 1466298 h 4137945"/>
              <a:gd name="connsiteX343" fmla="*/ 1903551 w 5893971"/>
              <a:gd name="connsiteY343" fmla="*/ 1464605 h 4137945"/>
              <a:gd name="connsiteX344" fmla="*/ 1889767 w 5893971"/>
              <a:gd name="connsiteY344" fmla="*/ 1448644 h 4137945"/>
              <a:gd name="connsiteX345" fmla="*/ 1889767 w 5893971"/>
              <a:gd name="connsiteY345" fmla="*/ 1409707 h 4137945"/>
              <a:gd name="connsiteX346" fmla="*/ 1887106 w 5893971"/>
              <a:gd name="connsiteY346" fmla="*/ 1407046 h 4137945"/>
              <a:gd name="connsiteX347" fmla="*/ 1884446 w 5893971"/>
              <a:gd name="connsiteY347" fmla="*/ 1409707 h 4137945"/>
              <a:gd name="connsiteX348" fmla="*/ 1884446 w 5893971"/>
              <a:gd name="connsiteY348" fmla="*/ 1448885 h 4137945"/>
              <a:gd name="connsiteX349" fmla="*/ 1871386 w 5893971"/>
              <a:gd name="connsiteY349" fmla="*/ 1464847 h 4137945"/>
              <a:gd name="connsiteX350" fmla="*/ 1871386 w 5893971"/>
              <a:gd name="connsiteY350" fmla="*/ 1466540 h 4137945"/>
              <a:gd name="connsiteX351" fmla="*/ 1864615 w 5893971"/>
              <a:gd name="connsiteY351" fmla="*/ 1466540 h 4137945"/>
              <a:gd name="connsiteX352" fmla="*/ 1859536 w 5893971"/>
              <a:gd name="connsiteY352" fmla="*/ 1471619 h 4137945"/>
              <a:gd name="connsiteX353" fmla="*/ 1864615 w 5893971"/>
              <a:gd name="connsiteY353" fmla="*/ 1476698 h 4137945"/>
              <a:gd name="connsiteX354" fmla="*/ 1871386 w 5893971"/>
              <a:gd name="connsiteY354" fmla="*/ 1476698 h 4137945"/>
              <a:gd name="connsiteX355" fmla="*/ 1871386 w 5893971"/>
              <a:gd name="connsiteY355" fmla="*/ 1682748 h 4137945"/>
              <a:gd name="connsiteX356" fmla="*/ 1820357 w 5893971"/>
              <a:gd name="connsiteY356" fmla="*/ 1693631 h 4137945"/>
              <a:gd name="connsiteX357" fmla="*/ 1803428 w 5893971"/>
              <a:gd name="connsiteY357" fmla="*/ 1670414 h 4137945"/>
              <a:gd name="connsiteX358" fmla="*/ 1803428 w 5893971"/>
              <a:gd name="connsiteY358" fmla="*/ 1592541 h 4137945"/>
              <a:gd name="connsiteX359" fmla="*/ 1810200 w 5893971"/>
              <a:gd name="connsiteY359" fmla="*/ 1592541 h 4137945"/>
              <a:gd name="connsiteX360" fmla="*/ 1815279 w 5893971"/>
              <a:gd name="connsiteY360" fmla="*/ 1587462 h 4137945"/>
              <a:gd name="connsiteX361" fmla="*/ 1810200 w 5893971"/>
              <a:gd name="connsiteY361" fmla="*/ 1582383 h 4137945"/>
              <a:gd name="connsiteX362" fmla="*/ 1803428 w 5893971"/>
              <a:gd name="connsiteY362" fmla="*/ 1582383 h 4137945"/>
              <a:gd name="connsiteX363" fmla="*/ 1803428 w 5893971"/>
              <a:gd name="connsiteY363" fmla="*/ 1580690 h 4137945"/>
              <a:gd name="connsiteX364" fmla="*/ 1789643 w 5893971"/>
              <a:gd name="connsiteY364" fmla="*/ 1564729 h 4137945"/>
              <a:gd name="connsiteX365" fmla="*/ 1789643 w 5893971"/>
              <a:gd name="connsiteY365" fmla="*/ 1525792 h 4137945"/>
              <a:gd name="connsiteX366" fmla="*/ 1786983 w 5893971"/>
              <a:gd name="connsiteY366" fmla="*/ 1523131 h 4137945"/>
              <a:gd name="connsiteX367" fmla="*/ 1784323 w 5893971"/>
              <a:gd name="connsiteY367" fmla="*/ 1525792 h 4137945"/>
              <a:gd name="connsiteX368" fmla="*/ 1784323 w 5893971"/>
              <a:gd name="connsiteY368" fmla="*/ 1564970 h 4137945"/>
              <a:gd name="connsiteX369" fmla="*/ 1771263 w 5893971"/>
              <a:gd name="connsiteY369" fmla="*/ 1580932 h 4137945"/>
              <a:gd name="connsiteX370" fmla="*/ 1771263 w 5893971"/>
              <a:gd name="connsiteY370" fmla="*/ 1582625 h 4137945"/>
              <a:gd name="connsiteX371" fmla="*/ 1763040 w 5893971"/>
              <a:gd name="connsiteY371" fmla="*/ 1582625 h 4137945"/>
              <a:gd name="connsiteX372" fmla="*/ 1757962 w 5893971"/>
              <a:gd name="connsiteY372" fmla="*/ 1587704 h 4137945"/>
              <a:gd name="connsiteX373" fmla="*/ 1763040 w 5893971"/>
              <a:gd name="connsiteY373" fmla="*/ 1592782 h 4137945"/>
              <a:gd name="connsiteX374" fmla="*/ 1769812 w 5893971"/>
              <a:gd name="connsiteY374" fmla="*/ 1592782 h 4137945"/>
              <a:gd name="connsiteX375" fmla="*/ 1769812 w 5893971"/>
              <a:gd name="connsiteY375" fmla="*/ 1626640 h 4137945"/>
              <a:gd name="connsiteX376" fmla="*/ 1741033 w 5893971"/>
              <a:gd name="connsiteY376" fmla="*/ 1587704 h 4137945"/>
              <a:gd name="connsiteX377" fmla="*/ 1677186 w 5893971"/>
              <a:gd name="connsiteY377" fmla="*/ 1587704 h 4137945"/>
              <a:gd name="connsiteX378" fmla="*/ 1677186 w 5893971"/>
              <a:gd name="connsiteY378" fmla="*/ 1417688 h 4137945"/>
              <a:gd name="connsiteX379" fmla="*/ 1683957 w 5893971"/>
              <a:gd name="connsiteY379" fmla="*/ 1417688 h 4137945"/>
              <a:gd name="connsiteX380" fmla="*/ 1689036 w 5893971"/>
              <a:gd name="connsiteY380" fmla="*/ 1412609 h 4137945"/>
              <a:gd name="connsiteX381" fmla="*/ 1683957 w 5893971"/>
              <a:gd name="connsiteY381" fmla="*/ 1407530 h 4137945"/>
              <a:gd name="connsiteX382" fmla="*/ 1677186 w 5893971"/>
              <a:gd name="connsiteY382" fmla="*/ 1407530 h 4137945"/>
              <a:gd name="connsiteX383" fmla="*/ 1677186 w 5893971"/>
              <a:gd name="connsiteY383" fmla="*/ 1405837 h 4137945"/>
              <a:gd name="connsiteX384" fmla="*/ 1663401 w 5893971"/>
              <a:gd name="connsiteY384" fmla="*/ 1389876 h 4137945"/>
              <a:gd name="connsiteX385" fmla="*/ 1663401 w 5893971"/>
              <a:gd name="connsiteY385" fmla="*/ 1350939 h 4137945"/>
              <a:gd name="connsiteX386" fmla="*/ 1660741 w 5893971"/>
              <a:gd name="connsiteY386" fmla="*/ 1348278 h 4137945"/>
              <a:gd name="connsiteX387" fmla="*/ 1658080 w 5893971"/>
              <a:gd name="connsiteY387" fmla="*/ 1350939 h 4137945"/>
              <a:gd name="connsiteX388" fmla="*/ 1658080 w 5893971"/>
              <a:gd name="connsiteY388" fmla="*/ 1390117 h 4137945"/>
              <a:gd name="connsiteX389" fmla="*/ 1645021 w 5893971"/>
              <a:gd name="connsiteY389" fmla="*/ 1406079 h 4137945"/>
              <a:gd name="connsiteX390" fmla="*/ 1645021 w 5893971"/>
              <a:gd name="connsiteY390" fmla="*/ 1407772 h 4137945"/>
              <a:gd name="connsiteX391" fmla="*/ 1638249 w 5893971"/>
              <a:gd name="connsiteY391" fmla="*/ 1407772 h 4137945"/>
              <a:gd name="connsiteX392" fmla="*/ 1633170 w 5893971"/>
              <a:gd name="connsiteY392" fmla="*/ 1412851 h 4137945"/>
              <a:gd name="connsiteX393" fmla="*/ 1638249 w 5893971"/>
              <a:gd name="connsiteY393" fmla="*/ 1417929 h 4137945"/>
              <a:gd name="connsiteX394" fmla="*/ 1645021 w 5893971"/>
              <a:gd name="connsiteY394" fmla="*/ 1417929 h 4137945"/>
              <a:gd name="connsiteX395" fmla="*/ 1645021 w 5893971"/>
              <a:gd name="connsiteY395" fmla="*/ 1731117 h 4137945"/>
              <a:gd name="connsiteX396" fmla="*/ 1614307 w 5893971"/>
              <a:gd name="connsiteY396" fmla="*/ 1737647 h 4137945"/>
              <a:gd name="connsiteX397" fmla="*/ 1614307 w 5893971"/>
              <a:gd name="connsiteY397" fmla="*/ 1564003 h 4137945"/>
              <a:gd name="connsiteX398" fmla="*/ 1621078 w 5893971"/>
              <a:gd name="connsiteY398" fmla="*/ 1564003 h 4137945"/>
              <a:gd name="connsiteX399" fmla="*/ 1626157 w 5893971"/>
              <a:gd name="connsiteY399" fmla="*/ 1558924 h 4137945"/>
              <a:gd name="connsiteX400" fmla="*/ 1621078 w 5893971"/>
              <a:gd name="connsiteY400" fmla="*/ 1553846 h 4137945"/>
              <a:gd name="connsiteX401" fmla="*/ 1614307 w 5893971"/>
              <a:gd name="connsiteY401" fmla="*/ 1553846 h 4137945"/>
              <a:gd name="connsiteX402" fmla="*/ 1614307 w 5893971"/>
              <a:gd name="connsiteY402" fmla="*/ 1552153 h 4137945"/>
              <a:gd name="connsiteX403" fmla="*/ 1600521 w 5893971"/>
              <a:gd name="connsiteY403" fmla="*/ 1536191 h 4137945"/>
              <a:gd name="connsiteX404" fmla="*/ 1600521 w 5893971"/>
              <a:gd name="connsiteY404" fmla="*/ 1495561 h 4137945"/>
              <a:gd name="connsiteX405" fmla="*/ 1597861 w 5893971"/>
              <a:gd name="connsiteY405" fmla="*/ 1492901 h 4137945"/>
              <a:gd name="connsiteX406" fmla="*/ 1595201 w 5893971"/>
              <a:gd name="connsiteY406" fmla="*/ 1495561 h 4137945"/>
              <a:gd name="connsiteX407" fmla="*/ 1595201 w 5893971"/>
              <a:gd name="connsiteY407" fmla="*/ 1534740 h 4137945"/>
              <a:gd name="connsiteX408" fmla="*/ 1582141 w 5893971"/>
              <a:gd name="connsiteY408" fmla="*/ 1550702 h 4137945"/>
              <a:gd name="connsiteX409" fmla="*/ 1582141 w 5893971"/>
              <a:gd name="connsiteY409" fmla="*/ 1552395 h 4137945"/>
              <a:gd name="connsiteX410" fmla="*/ 1575370 w 5893971"/>
              <a:gd name="connsiteY410" fmla="*/ 1552395 h 4137945"/>
              <a:gd name="connsiteX411" fmla="*/ 1570291 w 5893971"/>
              <a:gd name="connsiteY411" fmla="*/ 1557473 h 4137945"/>
              <a:gd name="connsiteX412" fmla="*/ 1575370 w 5893971"/>
              <a:gd name="connsiteY412" fmla="*/ 1562552 h 4137945"/>
              <a:gd name="connsiteX413" fmla="*/ 1582141 w 5893971"/>
              <a:gd name="connsiteY413" fmla="*/ 1562552 h 4137945"/>
              <a:gd name="connsiteX414" fmla="*/ 1582141 w 5893971"/>
              <a:gd name="connsiteY414" fmla="*/ 1743209 h 4137945"/>
              <a:gd name="connsiteX415" fmla="*/ 1582141 w 5893971"/>
              <a:gd name="connsiteY415" fmla="*/ 1843091 h 4137945"/>
              <a:gd name="connsiteX416" fmla="*/ 1582141 w 5893971"/>
              <a:gd name="connsiteY416" fmla="*/ 2690027 h 4137945"/>
              <a:gd name="connsiteX417" fmla="*/ 1404386 w 5893971"/>
              <a:gd name="connsiteY417" fmla="*/ 2690027 h 4137945"/>
              <a:gd name="connsiteX418" fmla="*/ 1396405 w 5893971"/>
              <a:gd name="connsiteY418" fmla="*/ 2476963 h 4137945"/>
              <a:gd name="connsiteX419" fmla="*/ 1406079 w 5893971"/>
              <a:gd name="connsiteY419" fmla="*/ 2467289 h 4137945"/>
              <a:gd name="connsiteX420" fmla="*/ 1413576 w 5893971"/>
              <a:gd name="connsiteY420" fmla="*/ 2449151 h 4137945"/>
              <a:gd name="connsiteX421" fmla="*/ 1413576 w 5893971"/>
              <a:gd name="connsiteY421" fmla="*/ 2449151 h 4137945"/>
              <a:gd name="connsiteX422" fmla="*/ 1413576 w 5893971"/>
              <a:gd name="connsiteY422" fmla="*/ 2449151 h 4137945"/>
              <a:gd name="connsiteX423" fmla="*/ 1394954 w 5893971"/>
              <a:gd name="connsiteY423" fmla="*/ 2424483 h 4137945"/>
              <a:gd name="connsiteX424" fmla="*/ 1389150 w 5893971"/>
              <a:gd name="connsiteY424" fmla="*/ 2422790 h 4137945"/>
              <a:gd name="connsiteX425" fmla="*/ 1379235 w 5893971"/>
              <a:gd name="connsiteY425" fmla="*/ 2134754 h 4137945"/>
              <a:gd name="connsiteX426" fmla="*/ 1382620 w 5893971"/>
              <a:gd name="connsiteY426" fmla="*/ 2132577 h 4137945"/>
              <a:gd name="connsiteX427" fmla="*/ 1396405 w 5893971"/>
              <a:gd name="connsiteY427" fmla="*/ 2106700 h 4137945"/>
              <a:gd name="connsiteX428" fmla="*/ 1396405 w 5893971"/>
              <a:gd name="connsiteY428" fmla="*/ 2106458 h 4137945"/>
              <a:gd name="connsiteX429" fmla="*/ 1396405 w 5893971"/>
              <a:gd name="connsiteY429" fmla="*/ 2103798 h 4137945"/>
              <a:gd name="connsiteX430" fmla="*/ 1396405 w 5893971"/>
              <a:gd name="connsiteY430" fmla="*/ 2103556 h 4137945"/>
              <a:gd name="connsiteX431" fmla="*/ 1379235 w 5893971"/>
              <a:gd name="connsiteY431" fmla="*/ 2075744 h 4137945"/>
              <a:gd name="connsiteX432" fmla="*/ 1363515 w 5893971"/>
              <a:gd name="connsiteY432" fmla="*/ 1756269 h 4137945"/>
              <a:gd name="connsiteX433" fmla="*/ 1377300 w 5893971"/>
              <a:gd name="connsiteY433" fmla="*/ 1746837 h 4137945"/>
              <a:gd name="connsiteX434" fmla="*/ 1388424 w 5893971"/>
              <a:gd name="connsiteY434" fmla="*/ 1725555 h 4137945"/>
              <a:gd name="connsiteX435" fmla="*/ 1388424 w 5893971"/>
              <a:gd name="connsiteY435" fmla="*/ 1725555 h 4137945"/>
              <a:gd name="connsiteX436" fmla="*/ 1388424 w 5893971"/>
              <a:gd name="connsiteY436" fmla="*/ 1725555 h 4137945"/>
              <a:gd name="connsiteX437" fmla="*/ 1377300 w 5893971"/>
              <a:gd name="connsiteY437" fmla="*/ 1704272 h 4137945"/>
              <a:gd name="connsiteX438" fmla="*/ 1363515 w 5893971"/>
              <a:gd name="connsiteY438" fmla="*/ 1694840 h 4137945"/>
              <a:gd name="connsiteX439" fmla="*/ 1363515 w 5893971"/>
              <a:gd name="connsiteY439" fmla="*/ 1628817 h 4137945"/>
              <a:gd name="connsiteX440" fmla="*/ 1396405 w 5893971"/>
              <a:gd name="connsiteY440" fmla="*/ 1612855 h 4137945"/>
              <a:gd name="connsiteX441" fmla="*/ 1396405 w 5893971"/>
              <a:gd name="connsiteY441" fmla="*/ 1612855 h 4137945"/>
              <a:gd name="connsiteX442" fmla="*/ 1396405 w 5893971"/>
              <a:gd name="connsiteY442" fmla="*/ 1612855 h 4137945"/>
              <a:gd name="connsiteX443" fmla="*/ 1373430 w 5893971"/>
              <a:gd name="connsiteY443" fmla="*/ 1592299 h 4137945"/>
              <a:gd name="connsiteX444" fmla="*/ 1363273 w 5893971"/>
              <a:gd name="connsiteY444" fmla="*/ 1589397 h 4137945"/>
              <a:gd name="connsiteX445" fmla="*/ 1357711 w 5893971"/>
              <a:gd name="connsiteY445" fmla="*/ 1556748 h 4137945"/>
              <a:gd name="connsiteX446" fmla="*/ 1304988 w 5893971"/>
              <a:gd name="connsiteY446" fmla="*/ 1502816 h 4137945"/>
              <a:gd name="connsiteX447" fmla="*/ 1304988 w 5893971"/>
              <a:gd name="connsiteY447" fmla="*/ 1495319 h 4137945"/>
              <a:gd name="connsiteX448" fmla="*/ 1309100 w 5893971"/>
              <a:gd name="connsiteY448" fmla="*/ 1489031 h 4137945"/>
              <a:gd name="connsiteX449" fmla="*/ 1304988 w 5893971"/>
              <a:gd name="connsiteY449" fmla="*/ 1482744 h 4137945"/>
              <a:gd name="connsiteX450" fmla="*/ 1304988 w 5893971"/>
              <a:gd name="connsiteY450" fmla="*/ 1475005 h 4137945"/>
              <a:gd name="connsiteX451" fmla="*/ 1309100 w 5893971"/>
              <a:gd name="connsiteY451" fmla="*/ 1468717 h 4137945"/>
              <a:gd name="connsiteX452" fmla="*/ 1304988 w 5893971"/>
              <a:gd name="connsiteY452" fmla="*/ 1462429 h 4137945"/>
              <a:gd name="connsiteX453" fmla="*/ 1304988 w 5893971"/>
              <a:gd name="connsiteY453" fmla="*/ 1452029 h 4137945"/>
              <a:gd name="connsiteX454" fmla="*/ 1309100 w 5893971"/>
              <a:gd name="connsiteY454" fmla="*/ 1445741 h 4137945"/>
              <a:gd name="connsiteX455" fmla="*/ 1302328 w 5893971"/>
              <a:gd name="connsiteY455" fmla="*/ 1438970 h 4137945"/>
              <a:gd name="connsiteX456" fmla="*/ 1295557 w 5893971"/>
              <a:gd name="connsiteY456" fmla="*/ 1445741 h 4137945"/>
              <a:gd name="connsiteX457" fmla="*/ 1299668 w 5893971"/>
              <a:gd name="connsiteY457" fmla="*/ 1452029 h 4137945"/>
              <a:gd name="connsiteX458" fmla="*/ 1299668 w 5893971"/>
              <a:gd name="connsiteY458" fmla="*/ 1462429 h 4137945"/>
              <a:gd name="connsiteX459" fmla="*/ 1295557 w 5893971"/>
              <a:gd name="connsiteY459" fmla="*/ 1468717 h 4137945"/>
              <a:gd name="connsiteX460" fmla="*/ 1299668 w 5893971"/>
              <a:gd name="connsiteY460" fmla="*/ 1475005 h 4137945"/>
              <a:gd name="connsiteX461" fmla="*/ 1299668 w 5893971"/>
              <a:gd name="connsiteY461" fmla="*/ 1482744 h 4137945"/>
              <a:gd name="connsiteX462" fmla="*/ 1295557 w 5893971"/>
              <a:gd name="connsiteY462" fmla="*/ 1489031 h 4137945"/>
              <a:gd name="connsiteX463" fmla="*/ 1299668 w 5893971"/>
              <a:gd name="connsiteY463" fmla="*/ 1495319 h 4137945"/>
              <a:gd name="connsiteX464" fmla="*/ 1299668 w 5893971"/>
              <a:gd name="connsiteY464" fmla="*/ 1502816 h 4137945"/>
              <a:gd name="connsiteX465" fmla="*/ 1246946 w 5893971"/>
              <a:gd name="connsiteY465" fmla="*/ 1556748 h 4137945"/>
              <a:gd name="connsiteX466" fmla="*/ 1241383 w 5893971"/>
              <a:gd name="connsiteY466" fmla="*/ 1589397 h 4137945"/>
              <a:gd name="connsiteX467" fmla="*/ 1231226 w 5893971"/>
              <a:gd name="connsiteY467" fmla="*/ 1592299 h 4137945"/>
              <a:gd name="connsiteX468" fmla="*/ 1208251 w 5893971"/>
              <a:gd name="connsiteY468" fmla="*/ 1612855 h 4137945"/>
              <a:gd name="connsiteX469" fmla="*/ 1208251 w 5893971"/>
              <a:gd name="connsiteY469" fmla="*/ 1612855 h 4137945"/>
              <a:gd name="connsiteX470" fmla="*/ 1208251 w 5893971"/>
              <a:gd name="connsiteY470" fmla="*/ 1612855 h 4137945"/>
              <a:gd name="connsiteX471" fmla="*/ 1241142 w 5893971"/>
              <a:gd name="connsiteY471" fmla="*/ 1628817 h 4137945"/>
              <a:gd name="connsiteX472" fmla="*/ 1241142 w 5893971"/>
              <a:gd name="connsiteY472" fmla="*/ 1694840 h 4137945"/>
              <a:gd name="connsiteX473" fmla="*/ 1227357 w 5893971"/>
              <a:gd name="connsiteY473" fmla="*/ 1704272 h 4137945"/>
              <a:gd name="connsiteX474" fmla="*/ 1216232 w 5893971"/>
              <a:gd name="connsiteY474" fmla="*/ 1725555 h 4137945"/>
              <a:gd name="connsiteX475" fmla="*/ 1216232 w 5893971"/>
              <a:gd name="connsiteY475" fmla="*/ 1725555 h 4137945"/>
              <a:gd name="connsiteX476" fmla="*/ 1216232 w 5893971"/>
              <a:gd name="connsiteY476" fmla="*/ 1725555 h 4137945"/>
              <a:gd name="connsiteX477" fmla="*/ 1227357 w 5893971"/>
              <a:gd name="connsiteY477" fmla="*/ 1746837 h 4137945"/>
              <a:gd name="connsiteX478" fmla="*/ 1241142 w 5893971"/>
              <a:gd name="connsiteY478" fmla="*/ 1756269 h 4137945"/>
              <a:gd name="connsiteX479" fmla="*/ 1225422 w 5893971"/>
              <a:gd name="connsiteY479" fmla="*/ 2075744 h 4137945"/>
              <a:gd name="connsiteX480" fmla="*/ 1208251 w 5893971"/>
              <a:gd name="connsiteY480" fmla="*/ 2103556 h 4137945"/>
              <a:gd name="connsiteX481" fmla="*/ 1208251 w 5893971"/>
              <a:gd name="connsiteY481" fmla="*/ 2103798 h 4137945"/>
              <a:gd name="connsiteX482" fmla="*/ 1208251 w 5893971"/>
              <a:gd name="connsiteY482" fmla="*/ 2106458 h 4137945"/>
              <a:gd name="connsiteX483" fmla="*/ 1208251 w 5893971"/>
              <a:gd name="connsiteY483" fmla="*/ 2106700 h 4137945"/>
              <a:gd name="connsiteX484" fmla="*/ 1222036 w 5893971"/>
              <a:gd name="connsiteY484" fmla="*/ 2132577 h 4137945"/>
              <a:gd name="connsiteX485" fmla="*/ 1225422 w 5893971"/>
              <a:gd name="connsiteY485" fmla="*/ 2134754 h 4137945"/>
              <a:gd name="connsiteX486" fmla="*/ 1215506 w 5893971"/>
              <a:gd name="connsiteY486" fmla="*/ 2422790 h 4137945"/>
              <a:gd name="connsiteX487" fmla="*/ 1209702 w 5893971"/>
              <a:gd name="connsiteY487" fmla="*/ 2424483 h 4137945"/>
              <a:gd name="connsiteX488" fmla="*/ 1191080 w 5893971"/>
              <a:gd name="connsiteY488" fmla="*/ 2449151 h 4137945"/>
              <a:gd name="connsiteX489" fmla="*/ 1191080 w 5893971"/>
              <a:gd name="connsiteY489" fmla="*/ 2449151 h 4137945"/>
              <a:gd name="connsiteX490" fmla="*/ 1191080 w 5893971"/>
              <a:gd name="connsiteY490" fmla="*/ 2449151 h 4137945"/>
              <a:gd name="connsiteX491" fmla="*/ 1198577 w 5893971"/>
              <a:gd name="connsiteY491" fmla="*/ 2467289 h 4137945"/>
              <a:gd name="connsiteX492" fmla="*/ 1208251 w 5893971"/>
              <a:gd name="connsiteY492" fmla="*/ 2476963 h 4137945"/>
              <a:gd name="connsiteX493" fmla="*/ 1200270 w 5893971"/>
              <a:gd name="connsiteY493" fmla="*/ 2690027 h 4137945"/>
              <a:gd name="connsiteX494" fmla="*/ 578974 w 5893971"/>
              <a:gd name="connsiteY494" fmla="*/ 2690027 h 4137945"/>
              <a:gd name="connsiteX495" fmla="*/ 563012 w 5893971"/>
              <a:gd name="connsiteY495" fmla="*/ 2264866 h 4137945"/>
              <a:gd name="connsiteX496" fmla="*/ 578974 w 5893971"/>
              <a:gd name="connsiteY496" fmla="*/ 2248904 h 4137945"/>
              <a:gd name="connsiteX497" fmla="*/ 591550 w 5893971"/>
              <a:gd name="connsiteY497" fmla="*/ 2218190 h 4137945"/>
              <a:gd name="connsiteX498" fmla="*/ 591550 w 5893971"/>
              <a:gd name="connsiteY498" fmla="*/ 2217948 h 4137945"/>
              <a:gd name="connsiteX499" fmla="*/ 591550 w 5893971"/>
              <a:gd name="connsiteY499" fmla="*/ 2217707 h 4137945"/>
              <a:gd name="connsiteX500" fmla="*/ 560352 w 5893971"/>
              <a:gd name="connsiteY500" fmla="*/ 2176109 h 4137945"/>
              <a:gd name="connsiteX501" fmla="*/ 550678 w 5893971"/>
              <a:gd name="connsiteY501" fmla="*/ 2173207 h 4137945"/>
              <a:gd name="connsiteX502" fmla="*/ 533991 w 5893971"/>
              <a:gd name="connsiteY502" fmla="*/ 1689036 h 4137945"/>
              <a:gd name="connsiteX503" fmla="*/ 539553 w 5893971"/>
              <a:gd name="connsiteY503" fmla="*/ 1685409 h 4137945"/>
              <a:gd name="connsiteX504" fmla="*/ 562770 w 5893971"/>
              <a:gd name="connsiteY504" fmla="*/ 1642118 h 4137945"/>
              <a:gd name="connsiteX505" fmla="*/ 562770 w 5893971"/>
              <a:gd name="connsiteY505" fmla="*/ 1641877 h 4137945"/>
              <a:gd name="connsiteX506" fmla="*/ 562770 w 5893971"/>
              <a:gd name="connsiteY506" fmla="*/ 1637523 h 4137945"/>
              <a:gd name="connsiteX507" fmla="*/ 562770 w 5893971"/>
              <a:gd name="connsiteY507" fmla="*/ 1637282 h 4137945"/>
              <a:gd name="connsiteX508" fmla="*/ 533991 w 5893971"/>
              <a:gd name="connsiteY508" fmla="*/ 1590848 h 4137945"/>
              <a:gd name="connsiteX509" fmla="*/ 507630 w 5893971"/>
              <a:gd name="connsiteY509" fmla="*/ 1053955 h 4137945"/>
              <a:gd name="connsiteX510" fmla="*/ 530847 w 5893971"/>
              <a:gd name="connsiteY510" fmla="*/ 1037993 h 4137945"/>
              <a:gd name="connsiteX511" fmla="*/ 549711 w 5893971"/>
              <a:gd name="connsiteY511" fmla="*/ 1002442 h 4137945"/>
              <a:gd name="connsiteX512" fmla="*/ 549711 w 5893971"/>
              <a:gd name="connsiteY512" fmla="*/ 1002200 h 4137945"/>
              <a:gd name="connsiteX513" fmla="*/ 549711 w 5893971"/>
              <a:gd name="connsiteY513" fmla="*/ 1001958 h 4137945"/>
              <a:gd name="connsiteX514" fmla="*/ 530847 w 5893971"/>
              <a:gd name="connsiteY514" fmla="*/ 966407 h 4137945"/>
              <a:gd name="connsiteX515" fmla="*/ 507630 w 5893971"/>
              <a:gd name="connsiteY515" fmla="*/ 950446 h 4137945"/>
              <a:gd name="connsiteX516" fmla="*/ 507630 w 5893971"/>
              <a:gd name="connsiteY516" fmla="*/ 839681 h 4137945"/>
              <a:gd name="connsiteX517" fmla="*/ 563012 w 5893971"/>
              <a:gd name="connsiteY517" fmla="*/ 812837 h 4137945"/>
              <a:gd name="connsiteX518" fmla="*/ 562770 w 5893971"/>
              <a:gd name="connsiteY518" fmla="*/ 812595 h 4137945"/>
              <a:gd name="connsiteX519" fmla="*/ 563012 w 5893971"/>
              <a:gd name="connsiteY519" fmla="*/ 812595 h 4137945"/>
              <a:gd name="connsiteX520" fmla="*/ 524559 w 5893971"/>
              <a:gd name="connsiteY520" fmla="*/ 778011 h 4137945"/>
              <a:gd name="connsiteX521" fmla="*/ 507630 w 5893971"/>
              <a:gd name="connsiteY521" fmla="*/ 772932 h 4137945"/>
              <a:gd name="connsiteX522" fmla="*/ 498440 w 5893971"/>
              <a:gd name="connsiteY522" fmla="*/ 718034 h 4137945"/>
              <a:gd name="connsiteX523" fmla="*/ 409925 w 5893971"/>
              <a:gd name="connsiteY523" fmla="*/ 627342 h 4137945"/>
              <a:gd name="connsiteX524" fmla="*/ 409925 w 5893971"/>
              <a:gd name="connsiteY524" fmla="*/ 614767 h 4137945"/>
              <a:gd name="connsiteX525" fmla="*/ 416938 w 5893971"/>
              <a:gd name="connsiteY525" fmla="*/ 604367 h 4137945"/>
              <a:gd name="connsiteX526" fmla="*/ 409925 w 5893971"/>
              <a:gd name="connsiteY526" fmla="*/ 593968 h 4137945"/>
              <a:gd name="connsiteX527" fmla="*/ 409925 w 5893971"/>
              <a:gd name="connsiteY527" fmla="*/ 580667 h 4137945"/>
              <a:gd name="connsiteX528" fmla="*/ 416938 w 5893971"/>
              <a:gd name="connsiteY528" fmla="*/ 570267 h 4137945"/>
              <a:gd name="connsiteX529" fmla="*/ 409925 w 5893971"/>
              <a:gd name="connsiteY529" fmla="*/ 559868 h 4137945"/>
              <a:gd name="connsiteX530" fmla="*/ 409925 w 5893971"/>
              <a:gd name="connsiteY530" fmla="*/ 542455 h 4137945"/>
              <a:gd name="connsiteX531" fmla="*/ 416938 w 5893971"/>
              <a:gd name="connsiteY531" fmla="*/ 532056 h 4137945"/>
              <a:gd name="connsiteX532" fmla="*/ 405572 w 5893971"/>
              <a:gd name="connsiteY532" fmla="*/ 520689 h 4137945"/>
              <a:gd name="connsiteX533" fmla="*/ 394205 w 5893971"/>
              <a:gd name="connsiteY533" fmla="*/ 532056 h 4137945"/>
              <a:gd name="connsiteX534" fmla="*/ 401219 w 5893971"/>
              <a:gd name="connsiteY534" fmla="*/ 542455 h 4137945"/>
              <a:gd name="connsiteX535" fmla="*/ 401219 w 5893971"/>
              <a:gd name="connsiteY535" fmla="*/ 559868 h 4137945"/>
              <a:gd name="connsiteX536" fmla="*/ 394205 w 5893971"/>
              <a:gd name="connsiteY536" fmla="*/ 570267 h 4137945"/>
              <a:gd name="connsiteX537" fmla="*/ 401219 w 5893971"/>
              <a:gd name="connsiteY537" fmla="*/ 580667 h 4137945"/>
              <a:gd name="connsiteX538" fmla="*/ 401219 w 5893971"/>
              <a:gd name="connsiteY538" fmla="*/ 593968 h 4137945"/>
              <a:gd name="connsiteX539" fmla="*/ 394205 w 5893971"/>
              <a:gd name="connsiteY539" fmla="*/ 604367 h 4137945"/>
              <a:gd name="connsiteX540" fmla="*/ 401219 w 5893971"/>
              <a:gd name="connsiteY540" fmla="*/ 614767 h 4137945"/>
              <a:gd name="connsiteX541" fmla="*/ 401219 w 5893971"/>
              <a:gd name="connsiteY541" fmla="*/ 627342 h 4137945"/>
              <a:gd name="connsiteX542" fmla="*/ 312704 w 5893971"/>
              <a:gd name="connsiteY542" fmla="*/ 718034 h 4137945"/>
              <a:gd name="connsiteX543" fmla="*/ 303514 w 5893971"/>
              <a:gd name="connsiteY543" fmla="*/ 772932 h 4137945"/>
              <a:gd name="connsiteX544" fmla="*/ 286585 w 5893971"/>
              <a:gd name="connsiteY544" fmla="*/ 778011 h 4137945"/>
              <a:gd name="connsiteX545" fmla="*/ 248132 w 5893971"/>
              <a:gd name="connsiteY545" fmla="*/ 812595 h 4137945"/>
              <a:gd name="connsiteX546" fmla="*/ 248374 w 5893971"/>
              <a:gd name="connsiteY546" fmla="*/ 812595 h 4137945"/>
              <a:gd name="connsiteX547" fmla="*/ 248132 w 5893971"/>
              <a:gd name="connsiteY547" fmla="*/ 812837 h 4137945"/>
              <a:gd name="connsiteX548" fmla="*/ 303514 w 5893971"/>
              <a:gd name="connsiteY548" fmla="*/ 839681 h 4137945"/>
              <a:gd name="connsiteX549" fmla="*/ 303514 w 5893971"/>
              <a:gd name="connsiteY549" fmla="*/ 950446 h 4137945"/>
              <a:gd name="connsiteX550" fmla="*/ 280297 w 5893971"/>
              <a:gd name="connsiteY550" fmla="*/ 966407 h 4137945"/>
              <a:gd name="connsiteX551" fmla="*/ 261433 w 5893971"/>
              <a:gd name="connsiteY551" fmla="*/ 1001958 h 4137945"/>
              <a:gd name="connsiteX552" fmla="*/ 261433 w 5893971"/>
              <a:gd name="connsiteY552" fmla="*/ 1002200 h 4137945"/>
              <a:gd name="connsiteX553" fmla="*/ 261433 w 5893971"/>
              <a:gd name="connsiteY553" fmla="*/ 1002442 h 4137945"/>
              <a:gd name="connsiteX554" fmla="*/ 280297 w 5893971"/>
              <a:gd name="connsiteY554" fmla="*/ 1037993 h 4137945"/>
              <a:gd name="connsiteX555" fmla="*/ 303514 w 5893971"/>
              <a:gd name="connsiteY555" fmla="*/ 1053955 h 4137945"/>
              <a:gd name="connsiteX556" fmla="*/ 277153 w 5893971"/>
              <a:gd name="connsiteY556" fmla="*/ 1590848 h 4137945"/>
              <a:gd name="connsiteX557" fmla="*/ 248374 w 5893971"/>
              <a:gd name="connsiteY557" fmla="*/ 1637282 h 4137945"/>
              <a:gd name="connsiteX558" fmla="*/ 248374 w 5893971"/>
              <a:gd name="connsiteY558" fmla="*/ 1637523 h 4137945"/>
              <a:gd name="connsiteX559" fmla="*/ 248374 w 5893971"/>
              <a:gd name="connsiteY559" fmla="*/ 1641877 h 4137945"/>
              <a:gd name="connsiteX560" fmla="*/ 248374 w 5893971"/>
              <a:gd name="connsiteY560" fmla="*/ 1642118 h 4137945"/>
              <a:gd name="connsiteX561" fmla="*/ 271591 w 5893971"/>
              <a:gd name="connsiteY561" fmla="*/ 1685409 h 4137945"/>
              <a:gd name="connsiteX562" fmla="*/ 277153 w 5893971"/>
              <a:gd name="connsiteY562" fmla="*/ 1689036 h 4137945"/>
              <a:gd name="connsiteX563" fmla="*/ 260466 w 5893971"/>
              <a:gd name="connsiteY563" fmla="*/ 2173207 h 4137945"/>
              <a:gd name="connsiteX564" fmla="*/ 250792 w 5893971"/>
              <a:gd name="connsiteY564" fmla="*/ 2176109 h 4137945"/>
              <a:gd name="connsiteX565" fmla="*/ 219594 w 5893971"/>
              <a:gd name="connsiteY565" fmla="*/ 2217707 h 4137945"/>
              <a:gd name="connsiteX566" fmla="*/ 219594 w 5893971"/>
              <a:gd name="connsiteY566" fmla="*/ 2217948 h 4137945"/>
              <a:gd name="connsiteX567" fmla="*/ 219594 w 5893971"/>
              <a:gd name="connsiteY567" fmla="*/ 2218190 h 4137945"/>
              <a:gd name="connsiteX568" fmla="*/ 232170 w 5893971"/>
              <a:gd name="connsiteY568" fmla="*/ 2248904 h 4137945"/>
              <a:gd name="connsiteX569" fmla="*/ 248132 w 5893971"/>
              <a:gd name="connsiteY569" fmla="*/ 2264866 h 4137945"/>
              <a:gd name="connsiteX570" fmla="*/ 232170 w 5893971"/>
              <a:gd name="connsiteY570" fmla="*/ 2690027 h 4137945"/>
              <a:gd name="connsiteX571" fmla="*/ 0 w 5893971"/>
              <a:gd name="connsiteY571" fmla="*/ 2690027 h 4137945"/>
              <a:gd name="connsiteX572" fmla="*/ 0 w 5893971"/>
              <a:gd name="connsiteY572" fmla="*/ 4137945 h 4137945"/>
              <a:gd name="connsiteX573" fmla="*/ 5893972 w 5893971"/>
              <a:gd name="connsiteY573" fmla="*/ 4137945 h 4137945"/>
              <a:gd name="connsiteX574" fmla="*/ 5893972 w 5893971"/>
              <a:gd name="connsiteY574" fmla="*/ 2690269 h 4137945"/>
              <a:gd name="connsiteX575" fmla="*/ 5647775 w 5893971"/>
              <a:gd name="connsiteY575" fmla="*/ 2690269 h 4137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</a:cxnLst>
            <a:rect l="l" t="t" r="r" b="b"/>
            <a:pathLst>
              <a:path w="5893971" h="4137945">
                <a:moveTo>
                  <a:pt x="5647775" y="2690269"/>
                </a:moveTo>
                <a:lnTo>
                  <a:pt x="5631814" y="2265108"/>
                </a:lnTo>
                <a:lnTo>
                  <a:pt x="5647775" y="2249146"/>
                </a:lnTo>
                <a:cubicBezTo>
                  <a:pt x="5655998" y="2240924"/>
                  <a:pt x="5660351" y="2230040"/>
                  <a:pt x="5660351" y="2218432"/>
                </a:cubicBezTo>
                <a:cubicBezTo>
                  <a:pt x="5660351" y="2218432"/>
                  <a:pt x="5660351" y="2218432"/>
                  <a:pt x="5660351" y="2218190"/>
                </a:cubicBezTo>
                <a:cubicBezTo>
                  <a:pt x="5660351" y="2218190"/>
                  <a:pt x="5660351" y="2218190"/>
                  <a:pt x="5660351" y="2217948"/>
                </a:cubicBezTo>
                <a:cubicBezTo>
                  <a:pt x="5660351" y="2198843"/>
                  <a:pt x="5647775" y="2181914"/>
                  <a:pt x="5629153" y="2176351"/>
                </a:cubicBezTo>
                <a:lnTo>
                  <a:pt x="5619479" y="2173449"/>
                </a:lnTo>
                <a:lnTo>
                  <a:pt x="5602792" y="1689278"/>
                </a:lnTo>
                <a:lnTo>
                  <a:pt x="5608355" y="1685650"/>
                </a:lnTo>
                <a:cubicBezTo>
                  <a:pt x="5622866" y="1675977"/>
                  <a:pt x="5631572" y="1659773"/>
                  <a:pt x="5631572" y="1642360"/>
                </a:cubicBezTo>
                <a:lnTo>
                  <a:pt x="5631572" y="1642118"/>
                </a:lnTo>
                <a:lnTo>
                  <a:pt x="5631572" y="1637765"/>
                </a:lnTo>
                <a:lnTo>
                  <a:pt x="5631572" y="1637523"/>
                </a:lnTo>
                <a:cubicBezTo>
                  <a:pt x="5631572" y="1617692"/>
                  <a:pt x="5620447" y="1599796"/>
                  <a:pt x="5602792" y="1591089"/>
                </a:cubicBezTo>
                <a:lnTo>
                  <a:pt x="5576431" y="1054197"/>
                </a:lnTo>
                <a:lnTo>
                  <a:pt x="5599649" y="1038235"/>
                </a:lnTo>
                <a:cubicBezTo>
                  <a:pt x="5611499" y="1030254"/>
                  <a:pt x="5618513" y="1016711"/>
                  <a:pt x="5618513" y="1002684"/>
                </a:cubicBezTo>
                <a:cubicBezTo>
                  <a:pt x="5618513" y="1002684"/>
                  <a:pt x="5618513" y="1002684"/>
                  <a:pt x="5618513" y="1002442"/>
                </a:cubicBezTo>
                <a:cubicBezTo>
                  <a:pt x="5618513" y="1002200"/>
                  <a:pt x="5618513" y="1002442"/>
                  <a:pt x="5618513" y="1002200"/>
                </a:cubicBezTo>
                <a:cubicBezTo>
                  <a:pt x="5618513" y="987931"/>
                  <a:pt x="5611499" y="974630"/>
                  <a:pt x="5599649" y="966649"/>
                </a:cubicBezTo>
                <a:lnTo>
                  <a:pt x="5576431" y="950688"/>
                </a:lnTo>
                <a:lnTo>
                  <a:pt x="5576431" y="839923"/>
                </a:lnTo>
                <a:lnTo>
                  <a:pt x="5631814" y="813078"/>
                </a:lnTo>
                <a:lnTo>
                  <a:pt x="5631572" y="812837"/>
                </a:lnTo>
                <a:lnTo>
                  <a:pt x="5631814" y="812837"/>
                </a:lnTo>
                <a:lnTo>
                  <a:pt x="5593361" y="778253"/>
                </a:lnTo>
                <a:lnTo>
                  <a:pt x="5576431" y="773174"/>
                </a:lnTo>
                <a:lnTo>
                  <a:pt x="5567241" y="718276"/>
                </a:lnTo>
                <a:cubicBezTo>
                  <a:pt x="5566274" y="669423"/>
                  <a:pt x="5527337" y="629761"/>
                  <a:pt x="5478727" y="627584"/>
                </a:cubicBezTo>
                <a:lnTo>
                  <a:pt x="5478727" y="615008"/>
                </a:lnTo>
                <a:cubicBezTo>
                  <a:pt x="5482838" y="613315"/>
                  <a:pt x="5485740" y="609204"/>
                  <a:pt x="5485740" y="604609"/>
                </a:cubicBezTo>
                <a:cubicBezTo>
                  <a:pt x="5485740" y="600014"/>
                  <a:pt x="5482838" y="595903"/>
                  <a:pt x="5478727" y="594210"/>
                </a:cubicBezTo>
                <a:lnTo>
                  <a:pt x="5478727" y="580909"/>
                </a:lnTo>
                <a:cubicBezTo>
                  <a:pt x="5482838" y="579216"/>
                  <a:pt x="5485740" y="575104"/>
                  <a:pt x="5485740" y="570509"/>
                </a:cubicBezTo>
                <a:cubicBezTo>
                  <a:pt x="5485740" y="565914"/>
                  <a:pt x="5482838" y="561803"/>
                  <a:pt x="5478727" y="560110"/>
                </a:cubicBezTo>
                <a:lnTo>
                  <a:pt x="5478727" y="542697"/>
                </a:lnTo>
                <a:cubicBezTo>
                  <a:pt x="5482838" y="541004"/>
                  <a:pt x="5485740" y="536893"/>
                  <a:pt x="5485740" y="532298"/>
                </a:cubicBezTo>
                <a:cubicBezTo>
                  <a:pt x="5485740" y="526010"/>
                  <a:pt x="5480661" y="520931"/>
                  <a:pt x="5474373" y="520931"/>
                </a:cubicBezTo>
                <a:cubicBezTo>
                  <a:pt x="5468086" y="520931"/>
                  <a:pt x="5463006" y="526010"/>
                  <a:pt x="5463006" y="532298"/>
                </a:cubicBezTo>
                <a:cubicBezTo>
                  <a:pt x="5463006" y="536893"/>
                  <a:pt x="5465908" y="541004"/>
                  <a:pt x="5470020" y="542697"/>
                </a:cubicBezTo>
                <a:lnTo>
                  <a:pt x="5470020" y="560110"/>
                </a:lnTo>
                <a:cubicBezTo>
                  <a:pt x="5465908" y="561803"/>
                  <a:pt x="5463006" y="565914"/>
                  <a:pt x="5463006" y="570509"/>
                </a:cubicBezTo>
                <a:cubicBezTo>
                  <a:pt x="5463006" y="575104"/>
                  <a:pt x="5465908" y="579216"/>
                  <a:pt x="5470020" y="580909"/>
                </a:cubicBezTo>
                <a:lnTo>
                  <a:pt x="5470020" y="594210"/>
                </a:lnTo>
                <a:cubicBezTo>
                  <a:pt x="5465908" y="595903"/>
                  <a:pt x="5463006" y="600014"/>
                  <a:pt x="5463006" y="604609"/>
                </a:cubicBezTo>
                <a:cubicBezTo>
                  <a:pt x="5463006" y="609204"/>
                  <a:pt x="5465908" y="613315"/>
                  <a:pt x="5470020" y="615008"/>
                </a:cubicBezTo>
                <a:lnTo>
                  <a:pt x="5470020" y="627584"/>
                </a:lnTo>
                <a:cubicBezTo>
                  <a:pt x="5421409" y="630003"/>
                  <a:pt x="5382715" y="669423"/>
                  <a:pt x="5381505" y="718276"/>
                </a:cubicBezTo>
                <a:lnTo>
                  <a:pt x="5372315" y="773174"/>
                </a:lnTo>
                <a:lnTo>
                  <a:pt x="5355387" y="778253"/>
                </a:lnTo>
                <a:lnTo>
                  <a:pt x="5316933" y="812837"/>
                </a:lnTo>
                <a:lnTo>
                  <a:pt x="5317175" y="812837"/>
                </a:lnTo>
                <a:lnTo>
                  <a:pt x="5316933" y="813078"/>
                </a:lnTo>
                <a:lnTo>
                  <a:pt x="5372315" y="839923"/>
                </a:lnTo>
                <a:lnTo>
                  <a:pt x="5372315" y="950688"/>
                </a:lnTo>
                <a:lnTo>
                  <a:pt x="5349098" y="966649"/>
                </a:lnTo>
                <a:cubicBezTo>
                  <a:pt x="5337248" y="974630"/>
                  <a:pt x="5330235" y="988173"/>
                  <a:pt x="5330235" y="1002200"/>
                </a:cubicBezTo>
                <a:cubicBezTo>
                  <a:pt x="5330235" y="1002200"/>
                  <a:pt x="5330235" y="1002200"/>
                  <a:pt x="5330235" y="1002442"/>
                </a:cubicBezTo>
                <a:cubicBezTo>
                  <a:pt x="5330235" y="1002684"/>
                  <a:pt x="5330235" y="1002442"/>
                  <a:pt x="5330235" y="1002684"/>
                </a:cubicBezTo>
                <a:cubicBezTo>
                  <a:pt x="5330235" y="1016953"/>
                  <a:pt x="5337248" y="1030254"/>
                  <a:pt x="5349098" y="1038235"/>
                </a:cubicBezTo>
                <a:lnTo>
                  <a:pt x="5372315" y="1054197"/>
                </a:lnTo>
                <a:lnTo>
                  <a:pt x="5345954" y="1591089"/>
                </a:lnTo>
                <a:cubicBezTo>
                  <a:pt x="5328300" y="1599796"/>
                  <a:pt x="5317175" y="1617934"/>
                  <a:pt x="5317175" y="1637523"/>
                </a:cubicBezTo>
                <a:lnTo>
                  <a:pt x="5317175" y="1637765"/>
                </a:lnTo>
                <a:lnTo>
                  <a:pt x="5317175" y="1642118"/>
                </a:lnTo>
                <a:lnTo>
                  <a:pt x="5317175" y="1642360"/>
                </a:lnTo>
                <a:cubicBezTo>
                  <a:pt x="5317175" y="1659773"/>
                  <a:pt x="5325882" y="1675977"/>
                  <a:pt x="5340392" y="1685650"/>
                </a:cubicBezTo>
                <a:lnTo>
                  <a:pt x="5345954" y="1689278"/>
                </a:lnTo>
                <a:lnTo>
                  <a:pt x="5329267" y="2173449"/>
                </a:lnTo>
                <a:lnTo>
                  <a:pt x="5319593" y="2176351"/>
                </a:lnTo>
                <a:cubicBezTo>
                  <a:pt x="5301213" y="2181672"/>
                  <a:pt x="5288395" y="2198601"/>
                  <a:pt x="5288395" y="2217948"/>
                </a:cubicBezTo>
                <a:cubicBezTo>
                  <a:pt x="5288395" y="2217948"/>
                  <a:pt x="5288395" y="2217948"/>
                  <a:pt x="5288395" y="2218190"/>
                </a:cubicBezTo>
                <a:cubicBezTo>
                  <a:pt x="5288395" y="2218190"/>
                  <a:pt x="5288395" y="2218190"/>
                  <a:pt x="5288395" y="2218432"/>
                </a:cubicBezTo>
                <a:cubicBezTo>
                  <a:pt x="5288395" y="2229799"/>
                  <a:pt x="5292990" y="2240924"/>
                  <a:pt x="5300972" y="2249146"/>
                </a:cubicBezTo>
                <a:lnTo>
                  <a:pt x="5316933" y="2265108"/>
                </a:lnTo>
                <a:lnTo>
                  <a:pt x="5300972" y="2690269"/>
                </a:lnTo>
                <a:lnTo>
                  <a:pt x="4679675" y="2690269"/>
                </a:lnTo>
                <a:lnTo>
                  <a:pt x="4671694" y="2477205"/>
                </a:lnTo>
                <a:lnTo>
                  <a:pt x="4681368" y="2467531"/>
                </a:lnTo>
                <a:cubicBezTo>
                  <a:pt x="4686205" y="2462694"/>
                  <a:pt x="4688865" y="2456164"/>
                  <a:pt x="4688865" y="2449393"/>
                </a:cubicBezTo>
                <a:cubicBezTo>
                  <a:pt x="4688865" y="2449393"/>
                  <a:pt x="4688865" y="2449393"/>
                  <a:pt x="4688865" y="2449393"/>
                </a:cubicBezTo>
                <a:cubicBezTo>
                  <a:pt x="4688865" y="2449393"/>
                  <a:pt x="4688865" y="2449393"/>
                  <a:pt x="4688865" y="2449393"/>
                </a:cubicBezTo>
                <a:cubicBezTo>
                  <a:pt x="4688865" y="2438026"/>
                  <a:pt x="4681368" y="2427869"/>
                  <a:pt x="4670243" y="2424725"/>
                </a:cubicBezTo>
                <a:lnTo>
                  <a:pt x="4664439" y="2423032"/>
                </a:lnTo>
                <a:lnTo>
                  <a:pt x="4654523" y="2134996"/>
                </a:lnTo>
                <a:lnTo>
                  <a:pt x="4657909" y="2132819"/>
                </a:lnTo>
                <a:cubicBezTo>
                  <a:pt x="4666615" y="2127015"/>
                  <a:pt x="4671694" y="2117341"/>
                  <a:pt x="4671694" y="2106942"/>
                </a:cubicBezTo>
                <a:lnTo>
                  <a:pt x="4671694" y="2106700"/>
                </a:lnTo>
                <a:lnTo>
                  <a:pt x="4671694" y="2104040"/>
                </a:lnTo>
                <a:lnTo>
                  <a:pt x="4671694" y="2103798"/>
                </a:lnTo>
                <a:cubicBezTo>
                  <a:pt x="4671694" y="2091948"/>
                  <a:pt x="4665164" y="2081307"/>
                  <a:pt x="4654523" y="2075986"/>
                </a:cubicBezTo>
                <a:lnTo>
                  <a:pt x="4638804" y="1756511"/>
                </a:lnTo>
                <a:lnTo>
                  <a:pt x="4652589" y="1747079"/>
                </a:lnTo>
                <a:cubicBezTo>
                  <a:pt x="4659602" y="1742242"/>
                  <a:pt x="4663713" y="1734261"/>
                  <a:pt x="4663713" y="1725796"/>
                </a:cubicBezTo>
                <a:cubicBezTo>
                  <a:pt x="4663713" y="1725796"/>
                  <a:pt x="4663713" y="1725796"/>
                  <a:pt x="4663713" y="1725796"/>
                </a:cubicBezTo>
                <a:cubicBezTo>
                  <a:pt x="4663713" y="1725796"/>
                  <a:pt x="4663713" y="1725796"/>
                  <a:pt x="4663713" y="1725796"/>
                </a:cubicBezTo>
                <a:cubicBezTo>
                  <a:pt x="4663713" y="1717332"/>
                  <a:pt x="4659602" y="1709351"/>
                  <a:pt x="4652589" y="1704514"/>
                </a:cubicBezTo>
                <a:lnTo>
                  <a:pt x="4638804" y="1695082"/>
                </a:lnTo>
                <a:lnTo>
                  <a:pt x="4638804" y="1629059"/>
                </a:lnTo>
                <a:lnTo>
                  <a:pt x="4671694" y="1613097"/>
                </a:lnTo>
                <a:lnTo>
                  <a:pt x="4671694" y="1613097"/>
                </a:lnTo>
                <a:lnTo>
                  <a:pt x="4671694" y="1613097"/>
                </a:lnTo>
                <a:lnTo>
                  <a:pt x="4648719" y="1592541"/>
                </a:lnTo>
                <a:lnTo>
                  <a:pt x="4638562" y="1589638"/>
                </a:lnTo>
                <a:lnTo>
                  <a:pt x="4633000" y="1556990"/>
                </a:lnTo>
                <a:cubicBezTo>
                  <a:pt x="4632274" y="1527968"/>
                  <a:pt x="4609299" y="1504268"/>
                  <a:pt x="4580277" y="1503058"/>
                </a:cubicBezTo>
                <a:lnTo>
                  <a:pt x="4580277" y="1495561"/>
                </a:lnTo>
                <a:cubicBezTo>
                  <a:pt x="4582696" y="1494594"/>
                  <a:pt x="4584389" y="1492175"/>
                  <a:pt x="4584389" y="1489273"/>
                </a:cubicBezTo>
                <a:cubicBezTo>
                  <a:pt x="4584389" y="1486371"/>
                  <a:pt x="4582696" y="1484195"/>
                  <a:pt x="4580277" y="1482985"/>
                </a:cubicBezTo>
                <a:lnTo>
                  <a:pt x="4580277" y="1475246"/>
                </a:lnTo>
                <a:cubicBezTo>
                  <a:pt x="4582696" y="1474279"/>
                  <a:pt x="4584389" y="1471861"/>
                  <a:pt x="4584389" y="1468959"/>
                </a:cubicBezTo>
                <a:cubicBezTo>
                  <a:pt x="4584389" y="1466056"/>
                  <a:pt x="4582696" y="1463880"/>
                  <a:pt x="4580277" y="1462671"/>
                </a:cubicBezTo>
                <a:lnTo>
                  <a:pt x="4580277" y="1452029"/>
                </a:lnTo>
                <a:cubicBezTo>
                  <a:pt x="4582696" y="1451062"/>
                  <a:pt x="4584389" y="1448644"/>
                  <a:pt x="4584389" y="1445741"/>
                </a:cubicBezTo>
                <a:cubicBezTo>
                  <a:pt x="4584389" y="1442114"/>
                  <a:pt x="4581245" y="1438970"/>
                  <a:pt x="4577617" y="1438970"/>
                </a:cubicBezTo>
                <a:cubicBezTo>
                  <a:pt x="4573990" y="1438970"/>
                  <a:pt x="4570846" y="1442114"/>
                  <a:pt x="4570846" y="1445741"/>
                </a:cubicBezTo>
                <a:cubicBezTo>
                  <a:pt x="4570846" y="1448644"/>
                  <a:pt x="4572539" y="1450820"/>
                  <a:pt x="4574957" y="1452029"/>
                </a:cubicBezTo>
                <a:lnTo>
                  <a:pt x="4574957" y="1462429"/>
                </a:lnTo>
                <a:cubicBezTo>
                  <a:pt x="4572539" y="1463396"/>
                  <a:pt x="4570846" y="1465814"/>
                  <a:pt x="4570846" y="1468717"/>
                </a:cubicBezTo>
                <a:cubicBezTo>
                  <a:pt x="4570846" y="1471619"/>
                  <a:pt x="4572539" y="1473795"/>
                  <a:pt x="4574957" y="1475005"/>
                </a:cubicBezTo>
                <a:lnTo>
                  <a:pt x="4574957" y="1482744"/>
                </a:lnTo>
                <a:cubicBezTo>
                  <a:pt x="4572539" y="1483711"/>
                  <a:pt x="4570846" y="1486129"/>
                  <a:pt x="4570846" y="1489031"/>
                </a:cubicBezTo>
                <a:cubicBezTo>
                  <a:pt x="4570846" y="1491934"/>
                  <a:pt x="4572539" y="1494110"/>
                  <a:pt x="4574957" y="1495319"/>
                </a:cubicBezTo>
                <a:lnTo>
                  <a:pt x="4574957" y="1502816"/>
                </a:lnTo>
                <a:cubicBezTo>
                  <a:pt x="4545936" y="1504268"/>
                  <a:pt x="4522960" y="1527727"/>
                  <a:pt x="4522235" y="1556748"/>
                </a:cubicBezTo>
                <a:lnTo>
                  <a:pt x="4516672" y="1589397"/>
                </a:lnTo>
                <a:lnTo>
                  <a:pt x="4506515" y="1592299"/>
                </a:lnTo>
                <a:lnTo>
                  <a:pt x="4483540" y="1612855"/>
                </a:lnTo>
                <a:lnTo>
                  <a:pt x="4483540" y="1612855"/>
                </a:lnTo>
                <a:lnTo>
                  <a:pt x="4483540" y="1612855"/>
                </a:lnTo>
                <a:lnTo>
                  <a:pt x="4516431" y="1628817"/>
                </a:lnTo>
                <a:lnTo>
                  <a:pt x="4516431" y="1694840"/>
                </a:lnTo>
                <a:lnTo>
                  <a:pt x="4502646" y="1704272"/>
                </a:lnTo>
                <a:cubicBezTo>
                  <a:pt x="4495632" y="1709109"/>
                  <a:pt x="4491521" y="1717090"/>
                  <a:pt x="4491521" y="1725555"/>
                </a:cubicBezTo>
                <a:cubicBezTo>
                  <a:pt x="4491521" y="1725555"/>
                  <a:pt x="4491521" y="1725555"/>
                  <a:pt x="4491521" y="1725555"/>
                </a:cubicBezTo>
                <a:cubicBezTo>
                  <a:pt x="4491521" y="1725555"/>
                  <a:pt x="4491521" y="1725555"/>
                  <a:pt x="4491521" y="1725555"/>
                </a:cubicBezTo>
                <a:cubicBezTo>
                  <a:pt x="4491521" y="1734019"/>
                  <a:pt x="4495632" y="1742000"/>
                  <a:pt x="4502646" y="1746837"/>
                </a:cubicBezTo>
                <a:lnTo>
                  <a:pt x="4516431" y="1756269"/>
                </a:lnTo>
                <a:lnTo>
                  <a:pt x="4500711" y="2075744"/>
                </a:lnTo>
                <a:cubicBezTo>
                  <a:pt x="4490311" y="2081065"/>
                  <a:pt x="4483540" y="2091706"/>
                  <a:pt x="4483540" y="2103556"/>
                </a:cubicBezTo>
                <a:lnTo>
                  <a:pt x="4483540" y="2103798"/>
                </a:lnTo>
                <a:lnTo>
                  <a:pt x="4483540" y="2106458"/>
                </a:lnTo>
                <a:lnTo>
                  <a:pt x="4483540" y="2106700"/>
                </a:lnTo>
                <a:cubicBezTo>
                  <a:pt x="4483540" y="2117099"/>
                  <a:pt x="4488619" y="2126773"/>
                  <a:pt x="4497325" y="2132577"/>
                </a:cubicBezTo>
                <a:lnTo>
                  <a:pt x="4500711" y="2134754"/>
                </a:lnTo>
                <a:lnTo>
                  <a:pt x="4490795" y="2422790"/>
                </a:lnTo>
                <a:lnTo>
                  <a:pt x="4484991" y="2424483"/>
                </a:lnTo>
                <a:cubicBezTo>
                  <a:pt x="4474108" y="2427627"/>
                  <a:pt x="4466369" y="2437784"/>
                  <a:pt x="4466369" y="2449151"/>
                </a:cubicBezTo>
                <a:cubicBezTo>
                  <a:pt x="4466369" y="2449151"/>
                  <a:pt x="4466369" y="2449151"/>
                  <a:pt x="4466369" y="2449151"/>
                </a:cubicBezTo>
                <a:cubicBezTo>
                  <a:pt x="4466369" y="2449151"/>
                  <a:pt x="4466369" y="2449151"/>
                  <a:pt x="4466369" y="2449151"/>
                </a:cubicBezTo>
                <a:cubicBezTo>
                  <a:pt x="4466369" y="2455923"/>
                  <a:pt x="4469030" y="2462452"/>
                  <a:pt x="4473866" y="2467289"/>
                </a:cubicBezTo>
                <a:lnTo>
                  <a:pt x="4483540" y="2476963"/>
                </a:lnTo>
                <a:lnTo>
                  <a:pt x="4475559" y="2690027"/>
                </a:lnTo>
                <a:lnTo>
                  <a:pt x="4311589" y="2690027"/>
                </a:lnTo>
                <a:lnTo>
                  <a:pt x="4311589" y="1843091"/>
                </a:lnTo>
                <a:lnTo>
                  <a:pt x="4311589" y="1743209"/>
                </a:lnTo>
                <a:lnTo>
                  <a:pt x="4311589" y="1562552"/>
                </a:lnTo>
                <a:lnTo>
                  <a:pt x="4318361" y="1562552"/>
                </a:lnTo>
                <a:cubicBezTo>
                  <a:pt x="4321263" y="1562552"/>
                  <a:pt x="4323439" y="1560133"/>
                  <a:pt x="4323439" y="1557473"/>
                </a:cubicBezTo>
                <a:cubicBezTo>
                  <a:pt x="4323439" y="1554571"/>
                  <a:pt x="4321021" y="1552395"/>
                  <a:pt x="4318361" y="1552395"/>
                </a:cubicBezTo>
                <a:lnTo>
                  <a:pt x="4311589" y="1552395"/>
                </a:lnTo>
                <a:lnTo>
                  <a:pt x="4311589" y="1550702"/>
                </a:lnTo>
                <a:cubicBezTo>
                  <a:pt x="4311589" y="1542721"/>
                  <a:pt x="4306027" y="1536191"/>
                  <a:pt x="4298529" y="1534740"/>
                </a:cubicBezTo>
                <a:lnTo>
                  <a:pt x="4298529" y="1495561"/>
                </a:lnTo>
                <a:cubicBezTo>
                  <a:pt x="4298529" y="1494110"/>
                  <a:pt x="4297320" y="1492901"/>
                  <a:pt x="4295869" y="1492901"/>
                </a:cubicBezTo>
                <a:cubicBezTo>
                  <a:pt x="4294418" y="1492901"/>
                  <a:pt x="4293209" y="1494110"/>
                  <a:pt x="4293209" y="1495561"/>
                </a:cubicBezTo>
                <a:lnTo>
                  <a:pt x="4293209" y="1534498"/>
                </a:lnTo>
                <a:cubicBezTo>
                  <a:pt x="4285470" y="1535707"/>
                  <a:pt x="4279424" y="1542479"/>
                  <a:pt x="4279424" y="1550460"/>
                </a:cubicBezTo>
                <a:lnTo>
                  <a:pt x="4279424" y="1552153"/>
                </a:lnTo>
                <a:lnTo>
                  <a:pt x="4272652" y="1552153"/>
                </a:lnTo>
                <a:cubicBezTo>
                  <a:pt x="4269750" y="1552153"/>
                  <a:pt x="4267573" y="1554571"/>
                  <a:pt x="4267573" y="1557231"/>
                </a:cubicBezTo>
                <a:cubicBezTo>
                  <a:pt x="4267573" y="1560133"/>
                  <a:pt x="4269992" y="1562310"/>
                  <a:pt x="4272652" y="1562310"/>
                </a:cubicBezTo>
                <a:lnTo>
                  <a:pt x="4279424" y="1562310"/>
                </a:lnTo>
                <a:lnTo>
                  <a:pt x="4279424" y="1735954"/>
                </a:lnTo>
                <a:lnTo>
                  <a:pt x="4248710" y="1729424"/>
                </a:lnTo>
                <a:lnTo>
                  <a:pt x="4248710" y="1416962"/>
                </a:lnTo>
                <a:lnTo>
                  <a:pt x="4255481" y="1416962"/>
                </a:lnTo>
                <a:cubicBezTo>
                  <a:pt x="4258383" y="1416962"/>
                  <a:pt x="4260560" y="1414544"/>
                  <a:pt x="4260560" y="1411883"/>
                </a:cubicBezTo>
                <a:cubicBezTo>
                  <a:pt x="4260560" y="1408981"/>
                  <a:pt x="4258142" y="1406805"/>
                  <a:pt x="4255481" y="1406805"/>
                </a:cubicBezTo>
                <a:lnTo>
                  <a:pt x="4248710" y="1406805"/>
                </a:lnTo>
                <a:lnTo>
                  <a:pt x="4248710" y="1405112"/>
                </a:lnTo>
                <a:cubicBezTo>
                  <a:pt x="4248710" y="1397131"/>
                  <a:pt x="4243147" y="1390601"/>
                  <a:pt x="4235650" y="1389150"/>
                </a:cubicBezTo>
                <a:lnTo>
                  <a:pt x="4235650" y="1349971"/>
                </a:lnTo>
                <a:cubicBezTo>
                  <a:pt x="4235650" y="1348520"/>
                  <a:pt x="4234441" y="1347311"/>
                  <a:pt x="4232990" y="1347311"/>
                </a:cubicBezTo>
                <a:cubicBezTo>
                  <a:pt x="4231539" y="1347311"/>
                  <a:pt x="4230329" y="1348520"/>
                  <a:pt x="4230329" y="1349971"/>
                </a:cubicBezTo>
                <a:lnTo>
                  <a:pt x="4230329" y="1388908"/>
                </a:lnTo>
                <a:cubicBezTo>
                  <a:pt x="4222591" y="1390117"/>
                  <a:pt x="4216544" y="1396889"/>
                  <a:pt x="4216544" y="1404870"/>
                </a:cubicBezTo>
                <a:lnTo>
                  <a:pt x="4216544" y="1406563"/>
                </a:lnTo>
                <a:lnTo>
                  <a:pt x="4209773" y="1406563"/>
                </a:lnTo>
                <a:cubicBezTo>
                  <a:pt x="4206871" y="1406563"/>
                  <a:pt x="4204694" y="1408981"/>
                  <a:pt x="4204694" y="1411641"/>
                </a:cubicBezTo>
                <a:cubicBezTo>
                  <a:pt x="4204694" y="1414544"/>
                  <a:pt x="4207113" y="1416720"/>
                  <a:pt x="4209773" y="1416720"/>
                </a:cubicBezTo>
                <a:lnTo>
                  <a:pt x="4216544" y="1416720"/>
                </a:lnTo>
                <a:lnTo>
                  <a:pt x="4216544" y="1586736"/>
                </a:lnTo>
                <a:lnTo>
                  <a:pt x="4152698" y="1586736"/>
                </a:lnTo>
                <a:lnTo>
                  <a:pt x="4123918" y="1625673"/>
                </a:lnTo>
                <a:lnTo>
                  <a:pt x="4123918" y="1591815"/>
                </a:lnTo>
                <a:lnTo>
                  <a:pt x="4130690" y="1591815"/>
                </a:lnTo>
                <a:cubicBezTo>
                  <a:pt x="4133592" y="1591815"/>
                  <a:pt x="4135769" y="1589397"/>
                  <a:pt x="4135769" y="1586736"/>
                </a:cubicBezTo>
                <a:cubicBezTo>
                  <a:pt x="4135769" y="1583834"/>
                  <a:pt x="4133350" y="1581658"/>
                  <a:pt x="4130690" y="1581658"/>
                </a:cubicBezTo>
                <a:lnTo>
                  <a:pt x="4123918" y="1581658"/>
                </a:lnTo>
                <a:lnTo>
                  <a:pt x="4123918" y="1579965"/>
                </a:lnTo>
                <a:cubicBezTo>
                  <a:pt x="4123918" y="1571984"/>
                  <a:pt x="4118356" y="1565454"/>
                  <a:pt x="4110859" y="1564003"/>
                </a:cubicBezTo>
                <a:lnTo>
                  <a:pt x="4110859" y="1524824"/>
                </a:lnTo>
                <a:cubicBezTo>
                  <a:pt x="4110859" y="1523373"/>
                  <a:pt x="4109649" y="1522164"/>
                  <a:pt x="4108198" y="1522164"/>
                </a:cubicBezTo>
                <a:cubicBezTo>
                  <a:pt x="4106747" y="1522164"/>
                  <a:pt x="4105538" y="1523373"/>
                  <a:pt x="4105538" y="1524824"/>
                </a:cubicBezTo>
                <a:lnTo>
                  <a:pt x="4105538" y="1563761"/>
                </a:lnTo>
                <a:cubicBezTo>
                  <a:pt x="4097799" y="1564970"/>
                  <a:pt x="4091753" y="1571742"/>
                  <a:pt x="4091753" y="1579723"/>
                </a:cubicBezTo>
                <a:lnTo>
                  <a:pt x="4091753" y="1581416"/>
                </a:lnTo>
                <a:lnTo>
                  <a:pt x="4084981" y="1581416"/>
                </a:lnTo>
                <a:cubicBezTo>
                  <a:pt x="4082079" y="1581416"/>
                  <a:pt x="4079903" y="1583834"/>
                  <a:pt x="4079903" y="1586495"/>
                </a:cubicBezTo>
                <a:cubicBezTo>
                  <a:pt x="4079903" y="1589397"/>
                  <a:pt x="4082321" y="1591573"/>
                  <a:pt x="4084981" y="1591573"/>
                </a:cubicBezTo>
                <a:lnTo>
                  <a:pt x="4091753" y="1591573"/>
                </a:lnTo>
                <a:lnTo>
                  <a:pt x="4091753" y="1669447"/>
                </a:lnTo>
                <a:lnTo>
                  <a:pt x="4074824" y="1692664"/>
                </a:lnTo>
                <a:lnTo>
                  <a:pt x="4023795" y="1681781"/>
                </a:lnTo>
                <a:lnTo>
                  <a:pt x="4023795" y="1475730"/>
                </a:lnTo>
                <a:lnTo>
                  <a:pt x="4030566" y="1475730"/>
                </a:lnTo>
                <a:cubicBezTo>
                  <a:pt x="4033469" y="1475730"/>
                  <a:pt x="4035645" y="1473312"/>
                  <a:pt x="4035645" y="1470651"/>
                </a:cubicBezTo>
                <a:cubicBezTo>
                  <a:pt x="4035645" y="1467749"/>
                  <a:pt x="4033227" y="1465573"/>
                  <a:pt x="4030566" y="1465573"/>
                </a:cubicBezTo>
                <a:lnTo>
                  <a:pt x="4023795" y="1465573"/>
                </a:lnTo>
                <a:lnTo>
                  <a:pt x="4023795" y="1463880"/>
                </a:lnTo>
                <a:cubicBezTo>
                  <a:pt x="4023795" y="1455899"/>
                  <a:pt x="4018233" y="1449369"/>
                  <a:pt x="4010735" y="1447918"/>
                </a:cubicBezTo>
                <a:lnTo>
                  <a:pt x="4010735" y="1408739"/>
                </a:lnTo>
                <a:cubicBezTo>
                  <a:pt x="4010735" y="1407288"/>
                  <a:pt x="4009526" y="1406079"/>
                  <a:pt x="4008075" y="1406079"/>
                </a:cubicBezTo>
                <a:cubicBezTo>
                  <a:pt x="4006624" y="1406079"/>
                  <a:pt x="4005415" y="1407288"/>
                  <a:pt x="4005415" y="1408739"/>
                </a:cubicBezTo>
                <a:lnTo>
                  <a:pt x="4005415" y="1447676"/>
                </a:lnTo>
                <a:cubicBezTo>
                  <a:pt x="3997676" y="1448885"/>
                  <a:pt x="3991630" y="1455657"/>
                  <a:pt x="3991630" y="1463638"/>
                </a:cubicBezTo>
                <a:lnTo>
                  <a:pt x="3991630" y="1465331"/>
                </a:lnTo>
                <a:lnTo>
                  <a:pt x="3984858" y="1465331"/>
                </a:lnTo>
                <a:cubicBezTo>
                  <a:pt x="3981956" y="1465331"/>
                  <a:pt x="3979780" y="1467749"/>
                  <a:pt x="3979780" y="1470410"/>
                </a:cubicBezTo>
                <a:cubicBezTo>
                  <a:pt x="3979780" y="1473312"/>
                  <a:pt x="3982198" y="1475488"/>
                  <a:pt x="3984858" y="1475488"/>
                </a:cubicBezTo>
                <a:lnTo>
                  <a:pt x="3991630" y="1475488"/>
                </a:lnTo>
                <a:lnTo>
                  <a:pt x="3991630" y="1675009"/>
                </a:lnTo>
                <a:lnTo>
                  <a:pt x="3920528" y="1675009"/>
                </a:lnTo>
                <a:lnTo>
                  <a:pt x="3920528" y="1533531"/>
                </a:lnTo>
                <a:lnTo>
                  <a:pt x="3961157" y="1533531"/>
                </a:lnTo>
                <a:lnTo>
                  <a:pt x="3980021" y="1486613"/>
                </a:lnTo>
                <a:lnTo>
                  <a:pt x="3920770" y="1471619"/>
                </a:lnTo>
                <a:lnTo>
                  <a:pt x="3920770" y="1417204"/>
                </a:lnTo>
                <a:lnTo>
                  <a:pt x="3910612" y="1417204"/>
                </a:lnTo>
                <a:cubicBezTo>
                  <a:pt x="3910612" y="1378267"/>
                  <a:pt x="3905775" y="1358678"/>
                  <a:pt x="3887879" y="1322885"/>
                </a:cubicBezTo>
                <a:cubicBezTo>
                  <a:pt x="3877721" y="1302328"/>
                  <a:pt x="3854746" y="1285399"/>
                  <a:pt x="3837092" y="1274516"/>
                </a:cubicBezTo>
                <a:cubicBezTo>
                  <a:pt x="3814600" y="1260731"/>
                  <a:pt x="3793318" y="1245253"/>
                  <a:pt x="3773003" y="1228566"/>
                </a:cubicBezTo>
                <a:lnTo>
                  <a:pt x="3718347" y="1183583"/>
                </a:lnTo>
                <a:lnTo>
                  <a:pt x="3718347" y="1169556"/>
                </a:lnTo>
                <a:cubicBezTo>
                  <a:pt x="3723667" y="1168347"/>
                  <a:pt x="3727778" y="1163510"/>
                  <a:pt x="3727778" y="1157706"/>
                </a:cubicBezTo>
                <a:cubicBezTo>
                  <a:pt x="3727778" y="1151901"/>
                  <a:pt x="3723667" y="1147064"/>
                  <a:pt x="3718347" y="1145855"/>
                </a:cubicBezTo>
                <a:lnTo>
                  <a:pt x="3718347" y="1127959"/>
                </a:lnTo>
                <a:cubicBezTo>
                  <a:pt x="3721249" y="1126750"/>
                  <a:pt x="3723183" y="1124089"/>
                  <a:pt x="3723183" y="1120945"/>
                </a:cubicBezTo>
                <a:cubicBezTo>
                  <a:pt x="3723183" y="1117801"/>
                  <a:pt x="3721249" y="1114899"/>
                  <a:pt x="3718347" y="1113932"/>
                </a:cubicBezTo>
                <a:lnTo>
                  <a:pt x="3718347" y="1097245"/>
                </a:lnTo>
                <a:cubicBezTo>
                  <a:pt x="3719314" y="1096519"/>
                  <a:pt x="3719798" y="1095310"/>
                  <a:pt x="3719798" y="1094101"/>
                </a:cubicBezTo>
                <a:cubicBezTo>
                  <a:pt x="3719798" y="1091682"/>
                  <a:pt x="3717863" y="1089748"/>
                  <a:pt x="3715444" y="1089748"/>
                </a:cubicBezTo>
                <a:cubicBezTo>
                  <a:pt x="3713026" y="1089748"/>
                  <a:pt x="3711091" y="1091682"/>
                  <a:pt x="3711091" y="1094101"/>
                </a:cubicBezTo>
                <a:cubicBezTo>
                  <a:pt x="3711091" y="1095310"/>
                  <a:pt x="3711575" y="1096519"/>
                  <a:pt x="3712542" y="1097245"/>
                </a:cubicBezTo>
                <a:lnTo>
                  <a:pt x="3712542" y="1113932"/>
                </a:lnTo>
                <a:cubicBezTo>
                  <a:pt x="3709640" y="1115141"/>
                  <a:pt x="3707705" y="1117801"/>
                  <a:pt x="3707705" y="1120945"/>
                </a:cubicBezTo>
                <a:cubicBezTo>
                  <a:pt x="3707705" y="1124089"/>
                  <a:pt x="3709640" y="1126992"/>
                  <a:pt x="3712542" y="1127959"/>
                </a:cubicBezTo>
                <a:lnTo>
                  <a:pt x="3712542" y="1145855"/>
                </a:lnTo>
                <a:cubicBezTo>
                  <a:pt x="3707222" y="1147064"/>
                  <a:pt x="3703110" y="1151901"/>
                  <a:pt x="3703110" y="1157706"/>
                </a:cubicBezTo>
                <a:cubicBezTo>
                  <a:pt x="3703110" y="1163510"/>
                  <a:pt x="3707222" y="1168347"/>
                  <a:pt x="3712542" y="1169556"/>
                </a:cubicBezTo>
                <a:lnTo>
                  <a:pt x="3712542" y="1183583"/>
                </a:lnTo>
                <a:lnTo>
                  <a:pt x="3657886" y="1228566"/>
                </a:lnTo>
                <a:cubicBezTo>
                  <a:pt x="3637571" y="1245253"/>
                  <a:pt x="3616289" y="1260731"/>
                  <a:pt x="3593797" y="1274516"/>
                </a:cubicBezTo>
                <a:cubicBezTo>
                  <a:pt x="3576142" y="1285399"/>
                  <a:pt x="3553167" y="1302328"/>
                  <a:pt x="3543010" y="1322885"/>
                </a:cubicBezTo>
                <a:cubicBezTo>
                  <a:pt x="3616289" y="1104742"/>
                  <a:pt x="3589686" y="996154"/>
                  <a:pt x="3532610" y="862656"/>
                </a:cubicBezTo>
                <a:cubicBezTo>
                  <a:pt x="3477228" y="733270"/>
                  <a:pt x="3338168" y="618394"/>
                  <a:pt x="3267792" y="566156"/>
                </a:cubicBezTo>
                <a:cubicBezTo>
                  <a:pt x="3230790" y="538586"/>
                  <a:pt x="3194271" y="510048"/>
                  <a:pt x="3158962" y="480301"/>
                </a:cubicBezTo>
                <a:lnTo>
                  <a:pt x="3017725" y="361073"/>
                </a:lnTo>
                <a:cubicBezTo>
                  <a:pt x="3017725" y="325763"/>
                  <a:pt x="2991606" y="296500"/>
                  <a:pt x="2957506" y="291663"/>
                </a:cubicBezTo>
                <a:cubicBezTo>
                  <a:pt x="2970324" y="287310"/>
                  <a:pt x="2979514" y="275460"/>
                  <a:pt x="2979514" y="261191"/>
                </a:cubicBezTo>
                <a:cubicBezTo>
                  <a:pt x="2979514" y="246680"/>
                  <a:pt x="2969840" y="234346"/>
                  <a:pt x="2956539" y="230477"/>
                </a:cubicBezTo>
                <a:cubicBezTo>
                  <a:pt x="2972017" y="226607"/>
                  <a:pt x="2983625" y="212339"/>
                  <a:pt x="2983625" y="195652"/>
                </a:cubicBezTo>
                <a:cubicBezTo>
                  <a:pt x="2983625" y="178722"/>
                  <a:pt x="2968147" y="155989"/>
                  <a:pt x="2954362" y="149943"/>
                </a:cubicBezTo>
                <a:lnTo>
                  <a:pt x="2954362" y="127210"/>
                </a:lnTo>
                <a:cubicBezTo>
                  <a:pt x="2960892" y="124549"/>
                  <a:pt x="2965245" y="118262"/>
                  <a:pt x="2965245" y="110764"/>
                </a:cubicBezTo>
                <a:cubicBezTo>
                  <a:pt x="2965245" y="103267"/>
                  <a:pt x="2960650" y="96979"/>
                  <a:pt x="2954362" y="94319"/>
                </a:cubicBezTo>
                <a:lnTo>
                  <a:pt x="2954362" y="73037"/>
                </a:lnTo>
                <a:cubicBezTo>
                  <a:pt x="2974677" y="70618"/>
                  <a:pt x="2990155" y="57559"/>
                  <a:pt x="2990155" y="41597"/>
                </a:cubicBezTo>
                <a:cubicBezTo>
                  <a:pt x="2990155" y="39662"/>
                  <a:pt x="2989913" y="37486"/>
                  <a:pt x="2989430" y="35793"/>
                </a:cubicBezTo>
                <a:cubicBezTo>
                  <a:pt x="2986044" y="48852"/>
                  <a:pt x="2972017" y="59252"/>
                  <a:pt x="2954362" y="61428"/>
                </a:cubicBezTo>
                <a:lnTo>
                  <a:pt x="2954362" y="46434"/>
                </a:lnTo>
                <a:cubicBezTo>
                  <a:pt x="2954362" y="43532"/>
                  <a:pt x="2952427" y="41113"/>
                  <a:pt x="2949767" y="40146"/>
                </a:cubicBezTo>
                <a:lnTo>
                  <a:pt x="2949767" y="2177"/>
                </a:lnTo>
                <a:cubicBezTo>
                  <a:pt x="2949767" y="967"/>
                  <a:pt x="2948800" y="0"/>
                  <a:pt x="2947591" y="0"/>
                </a:cubicBezTo>
                <a:cubicBezTo>
                  <a:pt x="2946381" y="0"/>
                  <a:pt x="2945414" y="967"/>
                  <a:pt x="2945414" y="2177"/>
                </a:cubicBezTo>
                <a:lnTo>
                  <a:pt x="2945414" y="40146"/>
                </a:lnTo>
                <a:cubicBezTo>
                  <a:pt x="2942754" y="41113"/>
                  <a:pt x="2940819" y="43532"/>
                  <a:pt x="2940819" y="46434"/>
                </a:cubicBezTo>
                <a:lnTo>
                  <a:pt x="2940819" y="61428"/>
                </a:lnTo>
                <a:cubicBezTo>
                  <a:pt x="2923165" y="59252"/>
                  <a:pt x="2908896" y="49094"/>
                  <a:pt x="2905752" y="35793"/>
                </a:cubicBezTo>
                <a:cubicBezTo>
                  <a:pt x="2905268" y="37728"/>
                  <a:pt x="2905026" y="39662"/>
                  <a:pt x="2905026" y="41597"/>
                </a:cubicBezTo>
                <a:cubicBezTo>
                  <a:pt x="2905026" y="57559"/>
                  <a:pt x="2920504" y="70618"/>
                  <a:pt x="2940819" y="73037"/>
                </a:cubicBezTo>
                <a:lnTo>
                  <a:pt x="2940819" y="95286"/>
                </a:lnTo>
                <a:cubicBezTo>
                  <a:pt x="2934289" y="97947"/>
                  <a:pt x="2929936" y="104235"/>
                  <a:pt x="2929936" y="111732"/>
                </a:cubicBezTo>
                <a:cubicBezTo>
                  <a:pt x="2929936" y="119229"/>
                  <a:pt x="2934531" y="125517"/>
                  <a:pt x="2940819" y="128177"/>
                </a:cubicBezTo>
                <a:lnTo>
                  <a:pt x="2940819" y="150910"/>
                </a:lnTo>
                <a:cubicBezTo>
                  <a:pt x="2927034" y="157198"/>
                  <a:pt x="2911556" y="179690"/>
                  <a:pt x="2911556" y="196619"/>
                </a:cubicBezTo>
                <a:cubicBezTo>
                  <a:pt x="2911556" y="213306"/>
                  <a:pt x="2923165" y="227575"/>
                  <a:pt x="2938642" y="231444"/>
                </a:cubicBezTo>
                <a:cubicBezTo>
                  <a:pt x="2925341" y="235314"/>
                  <a:pt x="2915667" y="247648"/>
                  <a:pt x="2915667" y="262159"/>
                </a:cubicBezTo>
                <a:cubicBezTo>
                  <a:pt x="2915667" y="276427"/>
                  <a:pt x="2924857" y="288278"/>
                  <a:pt x="2937675" y="292631"/>
                </a:cubicBezTo>
                <a:cubicBezTo>
                  <a:pt x="2903575" y="297468"/>
                  <a:pt x="2877456" y="326731"/>
                  <a:pt x="2877456" y="362040"/>
                </a:cubicBezTo>
                <a:lnTo>
                  <a:pt x="2736219" y="481269"/>
                </a:lnTo>
                <a:cubicBezTo>
                  <a:pt x="2700910" y="511016"/>
                  <a:pt x="2664634" y="539553"/>
                  <a:pt x="2627390" y="567123"/>
                </a:cubicBezTo>
                <a:cubicBezTo>
                  <a:pt x="2557013" y="619362"/>
                  <a:pt x="2417953" y="734237"/>
                  <a:pt x="2362571" y="863624"/>
                </a:cubicBezTo>
                <a:cubicBezTo>
                  <a:pt x="2305496" y="997121"/>
                  <a:pt x="2279135" y="1105709"/>
                  <a:pt x="2352172" y="1323852"/>
                </a:cubicBezTo>
                <a:cubicBezTo>
                  <a:pt x="2342014" y="1303295"/>
                  <a:pt x="2319039" y="1286366"/>
                  <a:pt x="2301384" y="1275484"/>
                </a:cubicBezTo>
                <a:cubicBezTo>
                  <a:pt x="2278893" y="1261699"/>
                  <a:pt x="2257611" y="1246220"/>
                  <a:pt x="2237296" y="1229533"/>
                </a:cubicBezTo>
                <a:lnTo>
                  <a:pt x="2182639" y="1184550"/>
                </a:lnTo>
                <a:lnTo>
                  <a:pt x="2182639" y="1170523"/>
                </a:lnTo>
                <a:cubicBezTo>
                  <a:pt x="2187960" y="1169314"/>
                  <a:pt x="2192071" y="1164477"/>
                  <a:pt x="2192071" y="1158673"/>
                </a:cubicBezTo>
                <a:cubicBezTo>
                  <a:pt x="2192071" y="1152869"/>
                  <a:pt x="2187960" y="1148032"/>
                  <a:pt x="2182639" y="1146823"/>
                </a:cubicBezTo>
                <a:lnTo>
                  <a:pt x="2182639" y="1128926"/>
                </a:lnTo>
                <a:cubicBezTo>
                  <a:pt x="2185541" y="1127717"/>
                  <a:pt x="2187476" y="1125057"/>
                  <a:pt x="2187476" y="1121913"/>
                </a:cubicBezTo>
                <a:cubicBezTo>
                  <a:pt x="2187476" y="1118769"/>
                  <a:pt x="2185541" y="1115867"/>
                  <a:pt x="2182639" y="1114899"/>
                </a:cubicBezTo>
                <a:lnTo>
                  <a:pt x="2182639" y="1098212"/>
                </a:lnTo>
                <a:cubicBezTo>
                  <a:pt x="2183607" y="1097487"/>
                  <a:pt x="2184090" y="1096277"/>
                  <a:pt x="2184090" y="1095068"/>
                </a:cubicBezTo>
                <a:cubicBezTo>
                  <a:pt x="2184090" y="1092650"/>
                  <a:pt x="2182156" y="1090715"/>
                  <a:pt x="2179737" y="1090715"/>
                </a:cubicBezTo>
                <a:cubicBezTo>
                  <a:pt x="2177319" y="1090715"/>
                  <a:pt x="2175384" y="1092650"/>
                  <a:pt x="2175384" y="1095068"/>
                </a:cubicBezTo>
                <a:cubicBezTo>
                  <a:pt x="2175384" y="1096277"/>
                  <a:pt x="2175868" y="1097487"/>
                  <a:pt x="2176835" y="1098212"/>
                </a:cubicBezTo>
                <a:lnTo>
                  <a:pt x="2176835" y="1114899"/>
                </a:lnTo>
                <a:cubicBezTo>
                  <a:pt x="2173933" y="1116109"/>
                  <a:pt x="2171998" y="1118769"/>
                  <a:pt x="2171998" y="1121913"/>
                </a:cubicBezTo>
                <a:cubicBezTo>
                  <a:pt x="2171998" y="1125057"/>
                  <a:pt x="2173933" y="1127959"/>
                  <a:pt x="2176835" y="1128926"/>
                </a:cubicBezTo>
                <a:lnTo>
                  <a:pt x="2176835" y="1146823"/>
                </a:lnTo>
                <a:cubicBezTo>
                  <a:pt x="2171514" y="1148032"/>
                  <a:pt x="2167403" y="1152869"/>
                  <a:pt x="2167403" y="1158673"/>
                </a:cubicBezTo>
                <a:cubicBezTo>
                  <a:pt x="2167403" y="1164477"/>
                  <a:pt x="2171514" y="1169314"/>
                  <a:pt x="2176835" y="1170523"/>
                </a:cubicBezTo>
                <a:lnTo>
                  <a:pt x="2176835" y="1184550"/>
                </a:lnTo>
                <a:lnTo>
                  <a:pt x="2122178" y="1229533"/>
                </a:lnTo>
                <a:cubicBezTo>
                  <a:pt x="2101863" y="1246220"/>
                  <a:pt x="2080581" y="1261699"/>
                  <a:pt x="2058090" y="1275484"/>
                </a:cubicBezTo>
                <a:cubicBezTo>
                  <a:pt x="2040435" y="1286366"/>
                  <a:pt x="2017460" y="1303295"/>
                  <a:pt x="2007303" y="1323852"/>
                </a:cubicBezTo>
                <a:cubicBezTo>
                  <a:pt x="1989406" y="1359645"/>
                  <a:pt x="1984569" y="1379234"/>
                  <a:pt x="1984569" y="1418171"/>
                </a:cubicBezTo>
                <a:lnTo>
                  <a:pt x="1974412" y="1418171"/>
                </a:lnTo>
                <a:lnTo>
                  <a:pt x="1974412" y="1472586"/>
                </a:lnTo>
                <a:lnTo>
                  <a:pt x="1915160" y="1487580"/>
                </a:lnTo>
                <a:lnTo>
                  <a:pt x="1934024" y="1534498"/>
                </a:lnTo>
                <a:lnTo>
                  <a:pt x="1974654" y="1534498"/>
                </a:lnTo>
                <a:lnTo>
                  <a:pt x="1974654" y="1675977"/>
                </a:lnTo>
                <a:lnTo>
                  <a:pt x="1903551" y="1675977"/>
                </a:lnTo>
                <a:lnTo>
                  <a:pt x="1903551" y="1476456"/>
                </a:lnTo>
                <a:lnTo>
                  <a:pt x="1910323" y="1476456"/>
                </a:lnTo>
                <a:cubicBezTo>
                  <a:pt x="1913225" y="1476456"/>
                  <a:pt x="1915402" y="1474037"/>
                  <a:pt x="1915402" y="1471377"/>
                </a:cubicBezTo>
                <a:cubicBezTo>
                  <a:pt x="1915402" y="1468475"/>
                  <a:pt x="1912983" y="1466298"/>
                  <a:pt x="1910323" y="1466298"/>
                </a:cubicBezTo>
                <a:lnTo>
                  <a:pt x="1903551" y="1466298"/>
                </a:lnTo>
                <a:lnTo>
                  <a:pt x="1903551" y="1464605"/>
                </a:lnTo>
                <a:cubicBezTo>
                  <a:pt x="1903551" y="1456383"/>
                  <a:pt x="1897505" y="1449853"/>
                  <a:pt x="1889767" y="1448644"/>
                </a:cubicBezTo>
                <a:lnTo>
                  <a:pt x="1889767" y="1409707"/>
                </a:lnTo>
                <a:cubicBezTo>
                  <a:pt x="1889767" y="1408256"/>
                  <a:pt x="1888557" y="1407046"/>
                  <a:pt x="1887106" y="1407046"/>
                </a:cubicBezTo>
                <a:cubicBezTo>
                  <a:pt x="1885655" y="1407046"/>
                  <a:pt x="1884446" y="1408256"/>
                  <a:pt x="1884446" y="1409707"/>
                </a:cubicBezTo>
                <a:lnTo>
                  <a:pt x="1884446" y="1448885"/>
                </a:lnTo>
                <a:cubicBezTo>
                  <a:pt x="1876949" y="1450336"/>
                  <a:pt x="1871386" y="1456866"/>
                  <a:pt x="1871386" y="1464847"/>
                </a:cubicBezTo>
                <a:lnTo>
                  <a:pt x="1871386" y="1466540"/>
                </a:lnTo>
                <a:lnTo>
                  <a:pt x="1864615" y="1466540"/>
                </a:lnTo>
                <a:cubicBezTo>
                  <a:pt x="1861713" y="1466540"/>
                  <a:pt x="1859536" y="1468959"/>
                  <a:pt x="1859536" y="1471619"/>
                </a:cubicBezTo>
                <a:cubicBezTo>
                  <a:pt x="1859536" y="1474521"/>
                  <a:pt x="1861954" y="1476698"/>
                  <a:pt x="1864615" y="1476698"/>
                </a:cubicBezTo>
                <a:lnTo>
                  <a:pt x="1871386" y="1476698"/>
                </a:lnTo>
                <a:lnTo>
                  <a:pt x="1871386" y="1682748"/>
                </a:lnTo>
                <a:lnTo>
                  <a:pt x="1820357" y="1693631"/>
                </a:lnTo>
                <a:lnTo>
                  <a:pt x="1803428" y="1670414"/>
                </a:lnTo>
                <a:lnTo>
                  <a:pt x="1803428" y="1592541"/>
                </a:lnTo>
                <a:lnTo>
                  <a:pt x="1810200" y="1592541"/>
                </a:lnTo>
                <a:cubicBezTo>
                  <a:pt x="1813102" y="1592541"/>
                  <a:pt x="1815279" y="1590122"/>
                  <a:pt x="1815279" y="1587462"/>
                </a:cubicBezTo>
                <a:cubicBezTo>
                  <a:pt x="1815279" y="1584560"/>
                  <a:pt x="1812860" y="1582383"/>
                  <a:pt x="1810200" y="1582383"/>
                </a:cubicBezTo>
                <a:lnTo>
                  <a:pt x="1803428" y="1582383"/>
                </a:lnTo>
                <a:lnTo>
                  <a:pt x="1803428" y="1580690"/>
                </a:lnTo>
                <a:cubicBezTo>
                  <a:pt x="1803428" y="1572468"/>
                  <a:pt x="1797382" y="1565938"/>
                  <a:pt x="1789643" y="1564729"/>
                </a:cubicBezTo>
                <a:lnTo>
                  <a:pt x="1789643" y="1525792"/>
                </a:lnTo>
                <a:cubicBezTo>
                  <a:pt x="1789643" y="1524341"/>
                  <a:pt x="1788434" y="1523131"/>
                  <a:pt x="1786983" y="1523131"/>
                </a:cubicBezTo>
                <a:cubicBezTo>
                  <a:pt x="1785532" y="1523131"/>
                  <a:pt x="1784323" y="1524341"/>
                  <a:pt x="1784323" y="1525792"/>
                </a:cubicBezTo>
                <a:lnTo>
                  <a:pt x="1784323" y="1564970"/>
                </a:lnTo>
                <a:cubicBezTo>
                  <a:pt x="1776826" y="1566421"/>
                  <a:pt x="1771263" y="1572951"/>
                  <a:pt x="1771263" y="1580932"/>
                </a:cubicBezTo>
                <a:lnTo>
                  <a:pt x="1771263" y="1582625"/>
                </a:lnTo>
                <a:lnTo>
                  <a:pt x="1763040" y="1582625"/>
                </a:lnTo>
                <a:cubicBezTo>
                  <a:pt x="1760138" y="1582625"/>
                  <a:pt x="1757962" y="1585043"/>
                  <a:pt x="1757962" y="1587704"/>
                </a:cubicBezTo>
                <a:cubicBezTo>
                  <a:pt x="1757962" y="1590606"/>
                  <a:pt x="1760380" y="1592782"/>
                  <a:pt x="1763040" y="1592782"/>
                </a:cubicBezTo>
                <a:lnTo>
                  <a:pt x="1769812" y="1592782"/>
                </a:lnTo>
                <a:lnTo>
                  <a:pt x="1769812" y="1626640"/>
                </a:lnTo>
                <a:lnTo>
                  <a:pt x="1741033" y="1587704"/>
                </a:lnTo>
                <a:lnTo>
                  <a:pt x="1677186" y="1587704"/>
                </a:lnTo>
                <a:lnTo>
                  <a:pt x="1677186" y="1417688"/>
                </a:lnTo>
                <a:lnTo>
                  <a:pt x="1683957" y="1417688"/>
                </a:lnTo>
                <a:cubicBezTo>
                  <a:pt x="1686860" y="1417688"/>
                  <a:pt x="1689036" y="1415269"/>
                  <a:pt x="1689036" y="1412609"/>
                </a:cubicBezTo>
                <a:cubicBezTo>
                  <a:pt x="1689036" y="1409707"/>
                  <a:pt x="1686618" y="1407530"/>
                  <a:pt x="1683957" y="1407530"/>
                </a:cubicBezTo>
                <a:lnTo>
                  <a:pt x="1677186" y="1407530"/>
                </a:lnTo>
                <a:lnTo>
                  <a:pt x="1677186" y="1405837"/>
                </a:lnTo>
                <a:cubicBezTo>
                  <a:pt x="1677186" y="1397615"/>
                  <a:pt x="1671140" y="1391085"/>
                  <a:pt x="1663401" y="1389876"/>
                </a:cubicBezTo>
                <a:lnTo>
                  <a:pt x="1663401" y="1350939"/>
                </a:lnTo>
                <a:cubicBezTo>
                  <a:pt x="1663401" y="1349488"/>
                  <a:pt x="1662192" y="1348278"/>
                  <a:pt x="1660741" y="1348278"/>
                </a:cubicBezTo>
                <a:cubicBezTo>
                  <a:pt x="1659290" y="1348278"/>
                  <a:pt x="1658080" y="1349488"/>
                  <a:pt x="1658080" y="1350939"/>
                </a:cubicBezTo>
                <a:lnTo>
                  <a:pt x="1658080" y="1390117"/>
                </a:lnTo>
                <a:cubicBezTo>
                  <a:pt x="1650583" y="1391568"/>
                  <a:pt x="1645021" y="1398098"/>
                  <a:pt x="1645021" y="1406079"/>
                </a:cubicBezTo>
                <a:lnTo>
                  <a:pt x="1645021" y="1407772"/>
                </a:lnTo>
                <a:lnTo>
                  <a:pt x="1638249" y="1407772"/>
                </a:lnTo>
                <a:cubicBezTo>
                  <a:pt x="1635347" y="1407772"/>
                  <a:pt x="1633170" y="1410190"/>
                  <a:pt x="1633170" y="1412851"/>
                </a:cubicBezTo>
                <a:cubicBezTo>
                  <a:pt x="1633170" y="1415753"/>
                  <a:pt x="1635589" y="1417929"/>
                  <a:pt x="1638249" y="1417929"/>
                </a:cubicBezTo>
                <a:lnTo>
                  <a:pt x="1645021" y="1417929"/>
                </a:lnTo>
                <a:lnTo>
                  <a:pt x="1645021" y="1731117"/>
                </a:lnTo>
                <a:lnTo>
                  <a:pt x="1614307" y="1737647"/>
                </a:lnTo>
                <a:lnTo>
                  <a:pt x="1614307" y="1564003"/>
                </a:lnTo>
                <a:lnTo>
                  <a:pt x="1621078" y="1564003"/>
                </a:lnTo>
                <a:cubicBezTo>
                  <a:pt x="1623980" y="1564003"/>
                  <a:pt x="1626157" y="1561584"/>
                  <a:pt x="1626157" y="1558924"/>
                </a:cubicBezTo>
                <a:cubicBezTo>
                  <a:pt x="1626157" y="1556022"/>
                  <a:pt x="1623739" y="1553846"/>
                  <a:pt x="1621078" y="1553846"/>
                </a:cubicBezTo>
                <a:lnTo>
                  <a:pt x="1614307" y="1553846"/>
                </a:lnTo>
                <a:lnTo>
                  <a:pt x="1614307" y="1552153"/>
                </a:lnTo>
                <a:cubicBezTo>
                  <a:pt x="1614307" y="1543930"/>
                  <a:pt x="1608261" y="1537400"/>
                  <a:pt x="1600521" y="1536191"/>
                </a:cubicBezTo>
                <a:lnTo>
                  <a:pt x="1600521" y="1495561"/>
                </a:lnTo>
                <a:cubicBezTo>
                  <a:pt x="1600521" y="1494110"/>
                  <a:pt x="1599312" y="1492901"/>
                  <a:pt x="1597861" y="1492901"/>
                </a:cubicBezTo>
                <a:cubicBezTo>
                  <a:pt x="1596410" y="1492901"/>
                  <a:pt x="1595201" y="1494110"/>
                  <a:pt x="1595201" y="1495561"/>
                </a:cubicBezTo>
                <a:lnTo>
                  <a:pt x="1595201" y="1534740"/>
                </a:lnTo>
                <a:cubicBezTo>
                  <a:pt x="1587704" y="1536191"/>
                  <a:pt x="1582141" y="1542721"/>
                  <a:pt x="1582141" y="1550702"/>
                </a:cubicBezTo>
                <a:lnTo>
                  <a:pt x="1582141" y="1552395"/>
                </a:lnTo>
                <a:lnTo>
                  <a:pt x="1575370" y="1552395"/>
                </a:lnTo>
                <a:cubicBezTo>
                  <a:pt x="1572467" y="1552395"/>
                  <a:pt x="1570291" y="1554813"/>
                  <a:pt x="1570291" y="1557473"/>
                </a:cubicBezTo>
                <a:cubicBezTo>
                  <a:pt x="1570291" y="1560375"/>
                  <a:pt x="1572710" y="1562552"/>
                  <a:pt x="1575370" y="1562552"/>
                </a:cubicBezTo>
                <a:lnTo>
                  <a:pt x="1582141" y="1562552"/>
                </a:lnTo>
                <a:lnTo>
                  <a:pt x="1582141" y="1743209"/>
                </a:lnTo>
                <a:lnTo>
                  <a:pt x="1582141" y="1843091"/>
                </a:lnTo>
                <a:lnTo>
                  <a:pt x="1582141" y="2690027"/>
                </a:lnTo>
                <a:lnTo>
                  <a:pt x="1404386" y="2690027"/>
                </a:lnTo>
                <a:lnTo>
                  <a:pt x="1396405" y="2476963"/>
                </a:lnTo>
                <a:lnTo>
                  <a:pt x="1406079" y="2467289"/>
                </a:lnTo>
                <a:cubicBezTo>
                  <a:pt x="1410916" y="2462452"/>
                  <a:pt x="1413576" y="2455923"/>
                  <a:pt x="1413576" y="2449151"/>
                </a:cubicBezTo>
                <a:cubicBezTo>
                  <a:pt x="1413576" y="2449151"/>
                  <a:pt x="1413576" y="2449151"/>
                  <a:pt x="1413576" y="2449151"/>
                </a:cubicBezTo>
                <a:cubicBezTo>
                  <a:pt x="1413576" y="2449151"/>
                  <a:pt x="1413576" y="2449151"/>
                  <a:pt x="1413576" y="2449151"/>
                </a:cubicBezTo>
                <a:cubicBezTo>
                  <a:pt x="1413576" y="2437784"/>
                  <a:pt x="1406079" y="2427627"/>
                  <a:pt x="1394954" y="2424483"/>
                </a:cubicBezTo>
                <a:lnTo>
                  <a:pt x="1389150" y="2422790"/>
                </a:lnTo>
                <a:lnTo>
                  <a:pt x="1379235" y="2134754"/>
                </a:lnTo>
                <a:lnTo>
                  <a:pt x="1382620" y="2132577"/>
                </a:lnTo>
                <a:cubicBezTo>
                  <a:pt x="1391327" y="2126773"/>
                  <a:pt x="1396405" y="2117099"/>
                  <a:pt x="1396405" y="2106700"/>
                </a:cubicBezTo>
                <a:lnTo>
                  <a:pt x="1396405" y="2106458"/>
                </a:lnTo>
                <a:lnTo>
                  <a:pt x="1396405" y="2103798"/>
                </a:lnTo>
                <a:lnTo>
                  <a:pt x="1396405" y="2103556"/>
                </a:lnTo>
                <a:cubicBezTo>
                  <a:pt x="1396405" y="2091706"/>
                  <a:pt x="1389876" y="2081065"/>
                  <a:pt x="1379235" y="2075744"/>
                </a:cubicBezTo>
                <a:lnTo>
                  <a:pt x="1363515" y="1756269"/>
                </a:lnTo>
                <a:lnTo>
                  <a:pt x="1377300" y="1746837"/>
                </a:lnTo>
                <a:cubicBezTo>
                  <a:pt x="1384313" y="1742000"/>
                  <a:pt x="1388424" y="1734019"/>
                  <a:pt x="1388424" y="1725555"/>
                </a:cubicBezTo>
                <a:cubicBezTo>
                  <a:pt x="1388424" y="1725555"/>
                  <a:pt x="1388424" y="1725555"/>
                  <a:pt x="1388424" y="1725555"/>
                </a:cubicBezTo>
                <a:cubicBezTo>
                  <a:pt x="1388424" y="1725555"/>
                  <a:pt x="1388424" y="1725555"/>
                  <a:pt x="1388424" y="1725555"/>
                </a:cubicBezTo>
                <a:cubicBezTo>
                  <a:pt x="1388424" y="1717090"/>
                  <a:pt x="1384313" y="1709109"/>
                  <a:pt x="1377300" y="1704272"/>
                </a:cubicBezTo>
                <a:lnTo>
                  <a:pt x="1363515" y="1694840"/>
                </a:lnTo>
                <a:lnTo>
                  <a:pt x="1363515" y="1628817"/>
                </a:lnTo>
                <a:lnTo>
                  <a:pt x="1396405" y="1612855"/>
                </a:lnTo>
                <a:lnTo>
                  <a:pt x="1396405" y="1612855"/>
                </a:lnTo>
                <a:lnTo>
                  <a:pt x="1396405" y="1612855"/>
                </a:lnTo>
                <a:lnTo>
                  <a:pt x="1373430" y="1592299"/>
                </a:lnTo>
                <a:lnTo>
                  <a:pt x="1363273" y="1589397"/>
                </a:lnTo>
                <a:lnTo>
                  <a:pt x="1357711" y="1556748"/>
                </a:lnTo>
                <a:cubicBezTo>
                  <a:pt x="1357227" y="1527727"/>
                  <a:pt x="1334010" y="1504026"/>
                  <a:pt x="1304988" y="1502816"/>
                </a:cubicBezTo>
                <a:lnTo>
                  <a:pt x="1304988" y="1495319"/>
                </a:lnTo>
                <a:cubicBezTo>
                  <a:pt x="1307407" y="1494352"/>
                  <a:pt x="1309100" y="1491934"/>
                  <a:pt x="1309100" y="1489031"/>
                </a:cubicBezTo>
                <a:cubicBezTo>
                  <a:pt x="1309100" y="1486129"/>
                  <a:pt x="1307407" y="1483953"/>
                  <a:pt x="1304988" y="1482744"/>
                </a:cubicBezTo>
                <a:lnTo>
                  <a:pt x="1304988" y="1475005"/>
                </a:lnTo>
                <a:cubicBezTo>
                  <a:pt x="1307407" y="1474037"/>
                  <a:pt x="1309100" y="1471619"/>
                  <a:pt x="1309100" y="1468717"/>
                </a:cubicBezTo>
                <a:cubicBezTo>
                  <a:pt x="1309100" y="1465814"/>
                  <a:pt x="1307407" y="1463638"/>
                  <a:pt x="1304988" y="1462429"/>
                </a:cubicBezTo>
                <a:lnTo>
                  <a:pt x="1304988" y="1452029"/>
                </a:lnTo>
                <a:cubicBezTo>
                  <a:pt x="1307407" y="1451062"/>
                  <a:pt x="1309100" y="1448644"/>
                  <a:pt x="1309100" y="1445741"/>
                </a:cubicBezTo>
                <a:cubicBezTo>
                  <a:pt x="1309100" y="1442114"/>
                  <a:pt x="1305956" y="1438970"/>
                  <a:pt x="1302328" y="1438970"/>
                </a:cubicBezTo>
                <a:cubicBezTo>
                  <a:pt x="1298701" y="1438970"/>
                  <a:pt x="1295557" y="1442114"/>
                  <a:pt x="1295557" y="1445741"/>
                </a:cubicBezTo>
                <a:cubicBezTo>
                  <a:pt x="1295557" y="1448644"/>
                  <a:pt x="1297250" y="1450820"/>
                  <a:pt x="1299668" y="1452029"/>
                </a:cubicBezTo>
                <a:lnTo>
                  <a:pt x="1299668" y="1462429"/>
                </a:lnTo>
                <a:cubicBezTo>
                  <a:pt x="1297250" y="1463396"/>
                  <a:pt x="1295557" y="1465814"/>
                  <a:pt x="1295557" y="1468717"/>
                </a:cubicBezTo>
                <a:cubicBezTo>
                  <a:pt x="1295557" y="1471619"/>
                  <a:pt x="1297250" y="1473795"/>
                  <a:pt x="1299668" y="1475005"/>
                </a:cubicBezTo>
                <a:lnTo>
                  <a:pt x="1299668" y="1482744"/>
                </a:lnTo>
                <a:cubicBezTo>
                  <a:pt x="1297250" y="1483711"/>
                  <a:pt x="1295557" y="1486129"/>
                  <a:pt x="1295557" y="1489031"/>
                </a:cubicBezTo>
                <a:cubicBezTo>
                  <a:pt x="1295557" y="1491934"/>
                  <a:pt x="1297250" y="1494110"/>
                  <a:pt x="1299668" y="1495319"/>
                </a:cubicBezTo>
                <a:lnTo>
                  <a:pt x="1299668" y="1502816"/>
                </a:lnTo>
                <a:cubicBezTo>
                  <a:pt x="1270647" y="1504268"/>
                  <a:pt x="1247672" y="1527727"/>
                  <a:pt x="1246946" y="1556748"/>
                </a:cubicBezTo>
                <a:lnTo>
                  <a:pt x="1241383" y="1589397"/>
                </a:lnTo>
                <a:lnTo>
                  <a:pt x="1231226" y="1592299"/>
                </a:lnTo>
                <a:lnTo>
                  <a:pt x="1208251" y="1612855"/>
                </a:lnTo>
                <a:lnTo>
                  <a:pt x="1208251" y="1612855"/>
                </a:lnTo>
                <a:lnTo>
                  <a:pt x="1208251" y="1612855"/>
                </a:lnTo>
                <a:lnTo>
                  <a:pt x="1241142" y="1628817"/>
                </a:lnTo>
                <a:lnTo>
                  <a:pt x="1241142" y="1694840"/>
                </a:lnTo>
                <a:lnTo>
                  <a:pt x="1227357" y="1704272"/>
                </a:lnTo>
                <a:cubicBezTo>
                  <a:pt x="1220343" y="1709109"/>
                  <a:pt x="1216232" y="1717090"/>
                  <a:pt x="1216232" y="1725555"/>
                </a:cubicBezTo>
                <a:cubicBezTo>
                  <a:pt x="1216232" y="1725555"/>
                  <a:pt x="1216232" y="1725555"/>
                  <a:pt x="1216232" y="1725555"/>
                </a:cubicBezTo>
                <a:cubicBezTo>
                  <a:pt x="1216232" y="1725555"/>
                  <a:pt x="1216232" y="1725555"/>
                  <a:pt x="1216232" y="1725555"/>
                </a:cubicBezTo>
                <a:cubicBezTo>
                  <a:pt x="1216232" y="1734019"/>
                  <a:pt x="1220343" y="1742000"/>
                  <a:pt x="1227357" y="1746837"/>
                </a:cubicBezTo>
                <a:lnTo>
                  <a:pt x="1241142" y="1756269"/>
                </a:lnTo>
                <a:lnTo>
                  <a:pt x="1225422" y="2075744"/>
                </a:lnTo>
                <a:cubicBezTo>
                  <a:pt x="1215023" y="2081065"/>
                  <a:pt x="1208251" y="2091706"/>
                  <a:pt x="1208251" y="2103556"/>
                </a:cubicBezTo>
                <a:lnTo>
                  <a:pt x="1208251" y="2103798"/>
                </a:lnTo>
                <a:lnTo>
                  <a:pt x="1208251" y="2106458"/>
                </a:lnTo>
                <a:lnTo>
                  <a:pt x="1208251" y="2106700"/>
                </a:lnTo>
                <a:cubicBezTo>
                  <a:pt x="1208251" y="2117099"/>
                  <a:pt x="1213330" y="2126773"/>
                  <a:pt x="1222036" y="2132577"/>
                </a:cubicBezTo>
                <a:lnTo>
                  <a:pt x="1225422" y="2134754"/>
                </a:lnTo>
                <a:lnTo>
                  <a:pt x="1215506" y="2422790"/>
                </a:lnTo>
                <a:lnTo>
                  <a:pt x="1209702" y="2424483"/>
                </a:lnTo>
                <a:cubicBezTo>
                  <a:pt x="1198819" y="2427627"/>
                  <a:pt x="1191080" y="2437784"/>
                  <a:pt x="1191080" y="2449151"/>
                </a:cubicBezTo>
                <a:cubicBezTo>
                  <a:pt x="1191080" y="2449151"/>
                  <a:pt x="1191080" y="2449151"/>
                  <a:pt x="1191080" y="2449151"/>
                </a:cubicBezTo>
                <a:cubicBezTo>
                  <a:pt x="1191080" y="2449151"/>
                  <a:pt x="1191080" y="2449151"/>
                  <a:pt x="1191080" y="2449151"/>
                </a:cubicBezTo>
                <a:cubicBezTo>
                  <a:pt x="1191080" y="2455923"/>
                  <a:pt x="1193741" y="2462452"/>
                  <a:pt x="1198577" y="2467289"/>
                </a:cubicBezTo>
                <a:lnTo>
                  <a:pt x="1208251" y="2476963"/>
                </a:lnTo>
                <a:lnTo>
                  <a:pt x="1200270" y="2690027"/>
                </a:lnTo>
                <a:lnTo>
                  <a:pt x="578974" y="2690027"/>
                </a:lnTo>
                <a:lnTo>
                  <a:pt x="563012" y="2264866"/>
                </a:lnTo>
                <a:lnTo>
                  <a:pt x="578974" y="2248904"/>
                </a:lnTo>
                <a:cubicBezTo>
                  <a:pt x="587196" y="2240682"/>
                  <a:pt x="591550" y="2229799"/>
                  <a:pt x="591550" y="2218190"/>
                </a:cubicBezTo>
                <a:cubicBezTo>
                  <a:pt x="591550" y="2218190"/>
                  <a:pt x="591550" y="2218190"/>
                  <a:pt x="591550" y="2217948"/>
                </a:cubicBezTo>
                <a:cubicBezTo>
                  <a:pt x="591550" y="2217948"/>
                  <a:pt x="591550" y="2217948"/>
                  <a:pt x="591550" y="2217707"/>
                </a:cubicBezTo>
                <a:cubicBezTo>
                  <a:pt x="591550" y="2198601"/>
                  <a:pt x="578974" y="2181672"/>
                  <a:pt x="560352" y="2176109"/>
                </a:cubicBezTo>
                <a:lnTo>
                  <a:pt x="550678" y="2173207"/>
                </a:lnTo>
                <a:lnTo>
                  <a:pt x="533991" y="1689036"/>
                </a:lnTo>
                <a:lnTo>
                  <a:pt x="539553" y="1685409"/>
                </a:lnTo>
                <a:cubicBezTo>
                  <a:pt x="554064" y="1675735"/>
                  <a:pt x="562770" y="1659531"/>
                  <a:pt x="562770" y="1642118"/>
                </a:cubicBezTo>
                <a:lnTo>
                  <a:pt x="562770" y="1641877"/>
                </a:lnTo>
                <a:lnTo>
                  <a:pt x="562770" y="1637523"/>
                </a:lnTo>
                <a:lnTo>
                  <a:pt x="562770" y="1637282"/>
                </a:lnTo>
                <a:cubicBezTo>
                  <a:pt x="562770" y="1617451"/>
                  <a:pt x="551646" y="1599554"/>
                  <a:pt x="533991" y="1590848"/>
                </a:cubicBezTo>
                <a:lnTo>
                  <a:pt x="507630" y="1053955"/>
                </a:lnTo>
                <a:lnTo>
                  <a:pt x="530847" y="1037993"/>
                </a:lnTo>
                <a:cubicBezTo>
                  <a:pt x="542697" y="1030012"/>
                  <a:pt x="549711" y="1016469"/>
                  <a:pt x="549711" y="1002442"/>
                </a:cubicBezTo>
                <a:cubicBezTo>
                  <a:pt x="549711" y="1002442"/>
                  <a:pt x="549711" y="1002442"/>
                  <a:pt x="549711" y="1002200"/>
                </a:cubicBezTo>
                <a:cubicBezTo>
                  <a:pt x="549711" y="1001958"/>
                  <a:pt x="549711" y="1002200"/>
                  <a:pt x="549711" y="1001958"/>
                </a:cubicBezTo>
                <a:cubicBezTo>
                  <a:pt x="549711" y="987690"/>
                  <a:pt x="542697" y="974388"/>
                  <a:pt x="530847" y="966407"/>
                </a:cubicBezTo>
                <a:lnTo>
                  <a:pt x="507630" y="950446"/>
                </a:lnTo>
                <a:lnTo>
                  <a:pt x="507630" y="839681"/>
                </a:lnTo>
                <a:lnTo>
                  <a:pt x="563012" y="812837"/>
                </a:lnTo>
                <a:lnTo>
                  <a:pt x="562770" y="812595"/>
                </a:lnTo>
                <a:lnTo>
                  <a:pt x="563012" y="812595"/>
                </a:lnTo>
                <a:lnTo>
                  <a:pt x="524559" y="778011"/>
                </a:lnTo>
                <a:lnTo>
                  <a:pt x="507630" y="772932"/>
                </a:lnTo>
                <a:lnTo>
                  <a:pt x="498440" y="718034"/>
                </a:lnTo>
                <a:cubicBezTo>
                  <a:pt x="497472" y="669181"/>
                  <a:pt x="458536" y="629519"/>
                  <a:pt x="409925" y="627342"/>
                </a:cubicBezTo>
                <a:lnTo>
                  <a:pt x="409925" y="614767"/>
                </a:lnTo>
                <a:cubicBezTo>
                  <a:pt x="414036" y="613074"/>
                  <a:pt x="416938" y="608962"/>
                  <a:pt x="416938" y="604367"/>
                </a:cubicBezTo>
                <a:cubicBezTo>
                  <a:pt x="416938" y="599772"/>
                  <a:pt x="414036" y="595661"/>
                  <a:pt x="409925" y="593968"/>
                </a:cubicBezTo>
                <a:lnTo>
                  <a:pt x="409925" y="580667"/>
                </a:lnTo>
                <a:cubicBezTo>
                  <a:pt x="414036" y="578974"/>
                  <a:pt x="416938" y="574862"/>
                  <a:pt x="416938" y="570267"/>
                </a:cubicBezTo>
                <a:cubicBezTo>
                  <a:pt x="416938" y="565672"/>
                  <a:pt x="414036" y="561561"/>
                  <a:pt x="409925" y="559868"/>
                </a:cubicBezTo>
                <a:lnTo>
                  <a:pt x="409925" y="542455"/>
                </a:lnTo>
                <a:cubicBezTo>
                  <a:pt x="414036" y="540762"/>
                  <a:pt x="416938" y="536651"/>
                  <a:pt x="416938" y="532056"/>
                </a:cubicBezTo>
                <a:cubicBezTo>
                  <a:pt x="416938" y="525768"/>
                  <a:pt x="411860" y="520689"/>
                  <a:pt x="405572" y="520689"/>
                </a:cubicBezTo>
                <a:cubicBezTo>
                  <a:pt x="399284" y="520689"/>
                  <a:pt x="394205" y="525768"/>
                  <a:pt x="394205" y="532056"/>
                </a:cubicBezTo>
                <a:cubicBezTo>
                  <a:pt x="394205" y="536651"/>
                  <a:pt x="397107" y="540762"/>
                  <a:pt x="401219" y="542455"/>
                </a:cubicBezTo>
                <a:lnTo>
                  <a:pt x="401219" y="559868"/>
                </a:lnTo>
                <a:cubicBezTo>
                  <a:pt x="397107" y="561561"/>
                  <a:pt x="394205" y="565672"/>
                  <a:pt x="394205" y="570267"/>
                </a:cubicBezTo>
                <a:cubicBezTo>
                  <a:pt x="394205" y="574862"/>
                  <a:pt x="397107" y="578974"/>
                  <a:pt x="401219" y="580667"/>
                </a:cubicBezTo>
                <a:lnTo>
                  <a:pt x="401219" y="593968"/>
                </a:lnTo>
                <a:cubicBezTo>
                  <a:pt x="397107" y="595661"/>
                  <a:pt x="394205" y="599772"/>
                  <a:pt x="394205" y="604367"/>
                </a:cubicBezTo>
                <a:cubicBezTo>
                  <a:pt x="394205" y="608962"/>
                  <a:pt x="397107" y="613074"/>
                  <a:pt x="401219" y="614767"/>
                </a:cubicBezTo>
                <a:lnTo>
                  <a:pt x="401219" y="627342"/>
                </a:lnTo>
                <a:cubicBezTo>
                  <a:pt x="352608" y="629761"/>
                  <a:pt x="313913" y="669181"/>
                  <a:pt x="312704" y="718034"/>
                </a:cubicBezTo>
                <a:lnTo>
                  <a:pt x="303514" y="772932"/>
                </a:lnTo>
                <a:lnTo>
                  <a:pt x="286585" y="778011"/>
                </a:lnTo>
                <a:lnTo>
                  <a:pt x="248132" y="812595"/>
                </a:lnTo>
                <a:lnTo>
                  <a:pt x="248374" y="812595"/>
                </a:lnTo>
                <a:lnTo>
                  <a:pt x="248132" y="812837"/>
                </a:lnTo>
                <a:lnTo>
                  <a:pt x="303514" y="839681"/>
                </a:lnTo>
                <a:lnTo>
                  <a:pt x="303514" y="950446"/>
                </a:lnTo>
                <a:lnTo>
                  <a:pt x="280297" y="966407"/>
                </a:lnTo>
                <a:cubicBezTo>
                  <a:pt x="268446" y="974388"/>
                  <a:pt x="261433" y="987931"/>
                  <a:pt x="261433" y="1001958"/>
                </a:cubicBezTo>
                <a:cubicBezTo>
                  <a:pt x="261433" y="1001958"/>
                  <a:pt x="261433" y="1001958"/>
                  <a:pt x="261433" y="1002200"/>
                </a:cubicBezTo>
                <a:cubicBezTo>
                  <a:pt x="261433" y="1002442"/>
                  <a:pt x="261433" y="1002200"/>
                  <a:pt x="261433" y="1002442"/>
                </a:cubicBezTo>
                <a:cubicBezTo>
                  <a:pt x="261433" y="1016711"/>
                  <a:pt x="268446" y="1030012"/>
                  <a:pt x="280297" y="1037993"/>
                </a:cubicBezTo>
                <a:lnTo>
                  <a:pt x="303514" y="1053955"/>
                </a:lnTo>
                <a:lnTo>
                  <a:pt x="277153" y="1590848"/>
                </a:lnTo>
                <a:cubicBezTo>
                  <a:pt x="259498" y="1599554"/>
                  <a:pt x="248374" y="1617692"/>
                  <a:pt x="248374" y="1637282"/>
                </a:cubicBezTo>
                <a:lnTo>
                  <a:pt x="248374" y="1637523"/>
                </a:lnTo>
                <a:lnTo>
                  <a:pt x="248374" y="1641877"/>
                </a:lnTo>
                <a:lnTo>
                  <a:pt x="248374" y="1642118"/>
                </a:lnTo>
                <a:cubicBezTo>
                  <a:pt x="248374" y="1659531"/>
                  <a:pt x="257080" y="1675735"/>
                  <a:pt x="271591" y="1685409"/>
                </a:cubicBezTo>
                <a:lnTo>
                  <a:pt x="277153" y="1689036"/>
                </a:lnTo>
                <a:lnTo>
                  <a:pt x="260466" y="2173207"/>
                </a:lnTo>
                <a:lnTo>
                  <a:pt x="250792" y="2176109"/>
                </a:lnTo>
                <a:cubicBezTo>
                  <a:pt x="232412" y="2181430"/>
                  <a:pt x="219594" y="2198359"/>
                  <a:pt x="219594" y="2217707"/>
                </a:cubicBezTo>
                <a:cubicBezTo>
                  <a:pt x="219594" y="2217707"/>
                  <a:pt x="219594" y="2217707"/>
                  <a:pt x="219594" y="2217948"/>
                </a:cubicBezTo>
                <a:cubicBezTo>
                  <a:pt x="219594" y="2217948"/>
                  <a:pt x="219594" y="2217948"/>
                  <a:pt x="219594" y="2218190"/>
                </a:cubicBezTo>
                <a:cubicBezTo>
                  <a:pt x="219594" y="2229557"/>
                  <a:pt x="224189" y="2240682"/>
                  <a:pt x="232170" y="2248904"/>
                </a:cubicBezTo>
                <a:lnTo>
                  <a:pt x="248132" y="2264866"/>
                </a:lnTo>
                <a:lnTo>
                  <a:pt x="232170" y="2690027"/>
                </a:lnTo>
                <a:lnTo>
                  <a:pt x="0" y="2690027"/>
                </a:lnTo>
                <a:lnTo>
                  <a:pt x="0" y="4137945"/>
                </a:lnTo>
                <a:lnTo>
                  <a:pt x="5893972" y="4137945"/>
                </a:lnTo>
                <a:lnTo>
                  <a:pt x="5893972" y="2690269"/>
                </a:lnTo>
                <a:lnTo>
                  <a:pt x="5647775" y="2690269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2417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413BA6C-90DB-D102-98CF-3FE033F8180B}"/>
              </a:ext>
            </a:extLst>
          </p:cNvPr>
          <p:cNvSpPr/>
          <p:nvPr/>
        </p:nvSpPr>
        <p:spPr>
          <a:xfrm>
            <a:off x="99816" y="3260631"/>
            <a:ext cx="2072600" cy="3641923"/>
          </a:xfrm>
          <a:custGeom>
            <a:avLst/>
            <a:gdLst>
              <a:gd name="connsiteX0" fmla="*/ 2062443 w 2072600"/>
              <a:gd name="connsiteY0" fmla="*/ 3108900 h 3641923"/>
              <a:gd name="connsiteX1" fmla="*/ 2062443 w 2072600"/>
              <a:gd name="connsiteY1" fmla="*/ 3053034 h 3641923"/>
              <a:gd name="connsiteX2" fmla="*/ 2072600 w 2072600"/>
              <a:gd name="connsiteY2" fmla="*/ 3042877 h 3641923"/>
              <a:gd name="connsiteX3" fmla="*/ 2072600 w 2072600"/>
              <a:gd name="connsiteY3" fmla="*/ 2996443 h 3641923"/>
              <a:gd name="connsiteX4" fmla="*/ 2062443 w 2072600"/>
              <a:gd name="connsiteY4" fmla="*/ 2996443 h 3641923"/>
              <a:gd name="connsiteX5" fmla="*/ 2062443 w 2072600"/>
              <a:gd name="connsiteY5" fmla="*/ 2879391 h 3641923"/>
              <a:gd name="connsiteX6" fmla="*/ 2050834 w 2072600"/>
              <a:gd name="connsiteY6" fmla="*/ 2879391 h 3641923"/>
              <a:gd name="connsiteX7" fmla="*/ 2050834 w 2072600"/>
              <a:gd name="connsiteY7" fmla="*/ 2806112 h 3641923"/>
              <a:gd name="connsiteX8" fmla="*/ 2041886 w 2072600"/>
              <a:gd name="connsiteY8" fmla="*/ 2806112 h 3641923"/>
              <a:gd name="connsiteX9" fmla="*/ 2041886 w 2072600"/>
              <a:gd name="connsiteY9" fmla="*/ 2713486 h 3641923"/>
              <a:gd name="connsiteX10" fmla="*/ 1959659 w 2072600"/>
              <a:gd name="connsiteY10" fmla="*/ 2713486 h 3641923"/>
              <a:gd name="connsiteX11" fmla="*/ 1959659 w 2072600"/>
              <a:gd name="connsiteY11" fmla="*/ 2695590 h 3641923"/>
              <a:gd name="connsiteX12" fmla="*/ 2016009 w 2072600"/>
              <a:gd name="connsiteY12" fmla="*/ 2656169 h 3641923"/>
              <a:gd name="connsiteX13" fmla="*/ 1828338 w 2072600"/>
              <a:gd name="connsiteY13" fmla="*/ 2656169 h 3641923"/>
              <a:gd name="connsiteX14" fmla="*/ 1879851 w 2072600"/>
              <a:gd name="connsiteY14" fmla="*/ 2690994 h 3641923"/>
              <a:gd name="connsiteX15" fmla="*/ 1879851 w 2072600"/>
              <a:gd name="connsiteY15" fmla="*/ 2711551 h 3641923"/>
              <a:gd name="connsiteX16" fmla="*/ 1806089 w 2072600"/>
              <a:gd name="connsiteY16" fmla="*/ 2711551 h 3641923"/>
              <a:gd name="connsiteX17" fmla="*/ 1806089 w 2072600"/>
              <a:gd name="connsiteY17" fmla="*/ 2800308 h 3641923"/>
              <a:gd name="connsiteX18" fmla="*/ 1779727 w 2072600"/>
              <a:gd name="connsiteY18" fmla="*/ 2800308 h 3641923"/>
              <a:gd name="connsiteX19" fmla="*/ 1779727 w 2072600"/>
              <a:gd name="connsiteY19" fmla="*/ 2879875 h 3641923"/>
              <a:gd name="connsiteX20" fmla="*/ 1541512 w 2072600"/>
              <a:gd name="connsiteY20" fmla="*/ 2879875 h 3641923"/>
              <a:gd name="connsiteX21" fmla="*/ 1541512 w 2072600"/>
              <a:gd name="connsiteY21" fmla="*/ 2643351 h 3641923"/>
              <a:gd name="connsiteX22" fmla="*/ 1526034 w 2072600"/>
              <a:gd name="connsiteY22" fmla="*/ 2643351 h 3641923"/>
              <a:gd name="connsiteX23" fmla="*/ 1526034 w 2072600"/>
              <a:gd name="connsiteY23" fmla="*/ 2510579 h 3641923"/>
              <a:gd name="connsiteX24" fmla="*/ 1539819 w 2072600"/>
              <a:gd name="connsiteY24" fmla="*/ 2510579 h 3641923"/>
              <a:gd name="connsiteX25" fmla="*/ 1539819 w 2072600"/>
              <a:gd name="connsiteY25" fmla="*/ 2456648 h 3641923"/>
              <a:gd name="connsiteX26" fmla="*/ 1526034 w 2072600"/>
              <a:gd name="connsiteY26" fmla="*/ 2456648 h 3641923"/>
              <a:gd name="connsiteX27" fmla="*/ 1526034 w 2072600"/>
              <a:gd name="connsiteY27" fmla="*/ 2411181 h 3641923"/>
              <a:gd name="connsiteX28" fmla="*/ 1560375 w 2072600"/>
              <a:gd name="connsiteY28" fmla="*/ 2411181 h 3641923"/>
              <a:gd name="connsiteX29" fmla="*/ 1560375 w 2072600"/>
              <a:gd name="connsiteY29" fmla="*/ 2383611 h 3641923"/>
              <a:gd name="connsiteX30" fmla="*/ 1544172 w 2072600"/>
              <a:gd name="connsiteY30" fmla="*/ 2383611 h 3641923"/>
              <a:gd name="connsiteX31" fmla="*/ 1544172 w 2072600"/>
              <a:gd name="connsiteY31" fmla="*/ 2372486 h 3641923"/>
              <a:gd name="connsiteX32" fmla="*/ 1550218 w 2072600"/>
              <a:gd name="connsiteY32" fmla="*/ 2372486 h 3641923"/>
              <a:gd name="connsiteX33" fmla="*/ 1550218 w 2072600"/>
              <a:gd name="connsiteY33" fmla="*/ 2334033 h 3641923"/>
              <a:gd name="connsiteX34" fmla="*/ 1506686 w 2072600"/>
              <a:gd name="connsiteY34" fmla="*/ 2334033 h 3641923"/>
              <a:gd name="connsiteX35" fmla="*/ 1506686 w 2072600"/>
              <a:gd name="connsiteY35" fmla="*/ 2319523 h 3641923"/>
              <a:gd name="connsiteX36" fmla="*/ 1489757 w 2072600"/>
              <a:gd name="connsiteY36" fmla="*/ 2319523 h 3641923"/>
              <a:gd name="connsiteX37" fmla="*/ 1489757 w 2072600"/>
              <a:gd name="connsiteY37" fmla="*/ 2115890 h 3641923"/>
              <a:gd name="connsiteX38" fmla="*/ 1419622 w 2072600"/>
              <a:gd name="connsiteY38" fmla="*/ 2099203 h 3641923"/>
              <a:gd name="connsiteX39" fmla="*/ 1419622 w 2072600"/>
              <a:gd name="connsiteY39" fmla="*/ 2060508 h 3641923"/>
              <a:gd name="connsiteX40" fmla="*/ 1386248 w 2072600"/>
              <a:gd name="connsiteY40" fmla="*/ 2060508 h 3641923"/>
              <a:gd name="connsiteX41" fmla="*/ 1386248 w 2072600"/>
              <a:gd name="connsiteY41" fmla="*/ 2042612 h 3641923"/>
              <a:gd name="connsiteX42" fmla="*/ 1405595 w 2072600"/>
              <a:gd name="connsiteY42" fmla="*/ 2042612 h 3641923"/>
              <a:gd name="connsiteX43" fmla="*/ 1405595 w 2072600"/>
              <a:gd name="connsiteY43" fmla="*/ 2003917 h 3641923"/>
              <a:gd name="connsiteX44" fmla="*/ 1386248 w 2072600"/>
              <a:gd name="connsiteY44" fmla="*/ 2003917 h 3641923"/>
              <a:gd name="connsiteX45" fmla="*/ 1152869 w 2072600"/>
              <a:gd name="connsiteY45" fmla="*/ 1742000 h 3641923"/>
              <a:gd name="connsiteX46" fmla="*/ 1132554 w 2072600"/>
              <a:gd name="connsiteY46" fmla="*/ 1726522 h 3641923"/>
              <a:gd name="connsiteX47" fmla="*/ 1135940 w 2072600"/>
              <a:gd name="connsiteY47" fmla="*/ 1726522 h 3641923"/>
              <a:gd name="connsiteX48" fmla="*/ 1135940 w 2072600"/>
              <a:gd name="connsiteY48" fmla="*/ 1686860 h 3641923"/>
              <a:gd name="connsiteX49" fmla="*/ 1118769 w 2072600"/>
              <a:gd name="connsiteY49" fmla="*/ 1686860 h 3641923"/>
              <a:gd name="connsiteX50" fmla="*/ 1104742 w 2072600"/>
              <a:gd name="connsiteY50" fmla="*/ 1152869 h 3641923"/>
              <a:gd name="connsiteX51" fmla="*/ 1118769 w 2072600"/>
              <a:gd name="connsiteY51" fmla="*/ 1152869 h 3641923"/>
              <a:gd name="connsiteX52" fmla="*/ 1118769 w 2072600"/>
              <a:gd name="connsiteY52" fmla="*/ 1131103 h 3641923"/>
              <a:gd name="connsiteX53" fmla="*/ 1104742 w 2072600"/>
              <a:gd name="connsiteY53" fmla="*/ 1131103 h 3641923"/>
              <a:gd name="connsiteX54" fmla="*/ 1104742 w 2072600"/>
              <a:gd name="connsiteY54" fmla="*/ 1109337 h 3641923"/>
              <a:gd name="connsiteX55" fmla="*/ 1133038 w 2072600"/>
              <a:gd name="connsiteY55" fmla="*/ 1088780 h 3641923"/>
              <a:gd name="connsiteX56" fmla="*/ 1145855 w 2072600"/>
              <a:gd name="connsiteY56" fmla="*/ 1088780 h 3641923"/>
              <a:gd name="connsiteX57" fmla="*/ 1145855 w 2072600"/>
              <a:gd name="connsiteY57" fmla="*/ 1056615 h 3641923"/>
              <a:gd name="connsiteX58" fmla="*/ 1137633 w 2072600"/>
              <a:gd name="connsiteY58" fmla="*/ 1056615 h 3641923"/>
              <a:gd name="connsiteX59" fmla="*/ 1137633 w 2072600"/>
              <a:gd name="connsiteY59" fmla="*/ 1027110 h 3641923"/>
              <a:gd name="connsiteX60" fmla="*/ 1112723 w 2072600"/>
              <a:gd name="connsiteY60" fmla="*/ 1027110 h 3641923"/>
              <a:gd name="connsiteX61" fmla="*/ 1112723 w 2072600"/>
              <a:gd name="connsiteY61" fmla="*/ 948027 h 3641923"/>
              <a:gd name="connsiteX62" fmla="*/ 1119011 w 2072600"/>
              <a:gd name="connsiteY62" fmla="*/ 948027 h 3641923"/>
              <a:gd name="connsiteX63" fmla="*/ 1119011 w 2072600"/>
              <a:gd name="connsiteY63" fmla="*/ 905221 h 3641923"/>
              <a:gd name="connsiteX64" fmla="*/ 1111997 w 2072600"/>
              <a:gd name="connsiteY64" fmla="*/ 898449 h 3641923"/>
              <a:gd name="connsiteX65" fmla="*/ 1111997 w 2072600"/>
              <a:gd name="connsiteY65" fmla="*/ 879585 h 3641923"/>
              <a:gd name="connsiteX66" fmla="*/ 1097487 w 2072600"/>
              <a:gd name="connsiteY66" fmla="*/ 879585 h 3641923"/>
              <a:gd name="connsiteX67" fmla="*/ 1066772 w 2072600"/>
              <a:gd name="connsiteY67" fmla="*/ 843551 h 3641923"/>
              <a:gd name="connsiteX68" fmla="*/ 1077897 w 2072600"/>
              <a:gd name="connsiteY68" fmla="*/ 843551 h 3641923"/>
              <a:gd name="connsiteX69" fmla="*/ 1077897 w 2072600"/>
              <a:gd name="connsiteY69" fmla="*/ 820334 h 3641923"/>
              <a:gd name="connsiteX70" fmla="*/ 1063387 w 2072600"/>
              <a:gd name="connsiteY70" fmla="*/ 805823 h 3641923"/>
              <a:gd name="connsiteX71" fmla="*/ 1094101 w 2072600"/>
              <a:gd name="connsiteY71" fmla="*/ 780913 h 3641923"/>
              <a:gd name="connsiteX72" fmla="*/ 1100147 w 2072600"/>
              <a:gd name="connsiteY72" fmla="*/ 751892 h 3641923"/>
              <a:gd name="connsiteX73" fmla="*/ 1111272 w 2072600"/>
              <a:gd name="connsiteY73" fmla="*/ 705458 h 3641923"/>
              <a:gd name="connsiteX74" fmla="*/ 1123364 w 2072600"/>
              <a:gd name="connsiteY74" fmla="*/ 693366 h 3641923"/>
              <a:gd name="connsiteX75" fmla="*/ 1123364 w 2072600"/>
              <a:gd name="connsiteY75" fmla="*/ 681515 h 3641923"/>
              <a:gd name="connsiteX76" fmla="*/ 1097487 w 2072600"/>
              <a:gd name="connsiteY76" fmla="*/ 655880 h 3641923"/>
              <a:gd name="connsiteX77" fmla="*/ 1097487 w 2072600"/>
              <a:gd name="connsiteY77" fmla="*/ 597354 h 3641923"/>
              <a:gd name="connsiteX78" fmla="*/ 1127475 w 2072600"/>
              <a:gd name="connsiteY78" fmla="*/ 597354 h 3641923"/>
              <a:gd name="connsiteX79" fmla="*/ 1127475 w 2072600"/>
              <a:gd name="connsiteY79" fmla="*/ 576797 h 3641923"/>
              <a:gd name="connsiteX80" fmla="*/ 1071851 w 2072600"/>
              <a:gd name="connsiteY80" fmla="*/ 541730 h 3641923"/>
              <a:gd name="connsiteX81" fmla="*/ 1071851 w 2072600"/>
              <a:gd name="connsiteY81" fmla="*/ 520206 h 3641923"/>
              <a:gd name="connsiteX82" fmla="*/ 1119011 w 2072600"/>
              <a:gd name="connsiteY82" fmla="*/ 473046 h 3641923"/>
              <a:gd name="connsiteX83" fmla="*/ 1125782 w 2072600"/>
              <a:gd name="connsiteY83" fmla="*/ 449104 h 3641923"/>
              <a:gd name="connsiteX84" fmla="*/ 1125782 w 2072600"/>
              <a:gd name="connsiteY84" fmla="*/ 391545 h 3641923"/>
              <a:gd name="connsiteX85" fmla="*/ 1089748 w 2072600"/>
              <a:gd name="connsiteY85" fmla="*/ 348739 h 3641923"/>
              <a:gd name="connsiteX86" fmla="*/ 1047667 w 2072600"/>
              <a:gd name="connsiteY86" fmla="*/ 330842 h 3641923"/>
              <a:gd name="connsiteX87" fmla="*/ 1047667 w 2072600"/>
              <a:gd name="connsiteY87" fmla="*/ 311011 h 3641923"/>
              <a:gd name="connsiteX88" fmla="*/ 1053229 w 2072600"/>
              <a:gd name="connsiteY88" fmla="*/ 305449 h 3641923"/>
              <a:gd name="connsiteX89" fmla="*/ 1053229 w 2072600"/>
              <a:gd name="connsiteY89" fmla="*/ 287794 h 3641923"/>
              <a:gd name="connsiteX90" fmla="*/ 1047667 w 2072600"/>
              <a:gd name="connsiteY90" fmla="*/ 287794 h 3641923"/>
              <a:gd name="connsiteX91" fmla="*/ 1047667 w 2072600"/>
              <a:gd name="connsiteY91" fmla="*/ 272316 h 3641923"/>
              <a:gd name="connsiteX92" fmla="*/ 1055406 w 2072600"/>
              <a:gd name="connsiteY92" fmla="*/ 272316 h 3641923"/>
              <a:gd name="connsiteX93" fmla="*/ 1055406 w 2072600"/>
              <a:gd name="connsiteY93" fmla="*/ 244262 h 3641923"/>
              <a:gd name="connsiteX94" fmla="*/ 1047667 w 2072600"/>
              <a:gd name="connsiteY94" fmla="*/ 244262 h 3641923"/>
              <a:gd name="connsiteX95" fmla="*/ 1047667 w 2072600"/>
              <a:gd name="connsiteY95" fmla="*/ 205809 h 3641923"/>
              <a:gd name="connsiteX96" fmla="*/ 1053713 w 2072600"/>
              <a:gd name="connsiteY96" fmla="*/ 205809 h 3641923"/>
              <a:gd name="connsiteX97" fmla="*/ 1053713 w 2072600"/>
              <a:gd name="connsiteY97" fmla="*/ 184285 h 3641923"/>
              <a:gd name="connsiteX98" fmla="*/ 1047667 w 2072600"/>
              <a:gd name="connsiteY98" fmla="*/ 184285 h 3641923"/>
              <a:gd name="connsiteX99" fmla="*/ 1047667 w 2072600"/>
              <a:gd name="connsiteY99" fmla="*/ 102784 h 3641923"/>
              <a:gd name="connsiteX100" fmla="*/ 1036300 w 2072600"/>
              <a:gd name="connsiteY100" fmla="*/ 0 h 3641923"/>
              <a:gd name="connsiteX101" fmla="*/ 1025175 w 2072600"/>
              <a:gd name="connsiteY101" fmla="*/ 102784 h 3641923"/>
              <a:gd name="connsiteX102" fmla="*/ 1025175 w 2072600"/>
              <a:gd name="connsiteY102" fmla="*/ 184043 h 3641923"/>
              <a:gd name="connsiteX103" fmla="*/ 1019129 w 2072600"/>
              <a:gd name="connsiteY103" fmla="*/ 184043 h 3641923"/>
              <a:gd name="connsiteX104" fmla="*/ 1019129 w 2072600"/>
              <a:gd name="connsiteY104" fmla="*/ 205567 h 3641923"/>
              <a:gd name="connsiteX105" fmla="*/ 1025175 w 2072600"/>
              <a:gd name="connsiteY105" fmla="*/ 205567 h 3641923"/>
              <a:gd name="connsiteX106" fmla="*/ 1025175 w 2072600"/>
              <a:gd name="connsiteY106" fmla="*/ 244020 h 3641923"/>
              <a:gd name="connsiteX107" fmla="*/ 1017436 w 2072600"/>
              <a:gd name="connsiteY107" fmla="*/ 244020 h 3641923"/>
              <a:gd name="connsiteX108" fmla="*/ 1017436 w 2072600"/>
              <a:gd name="connsiteY108" fmla="*/ 272316 h 3641923"/>
              <a:gd name="connsiteX109" fmla="*/ 1025175 w 2072600"/>
              <a:gd name="connsiteY109" fmla="*/ 272316 h 3641923"/>
              <a:gd name="connsiteX110" fmla="*/ 1025175 w 2072600"/>
              <a:gd name="connsiteY110" fmla="*/ 287794 h 3641923"/>
              <a:gd name="connsiteX111" fmla="*/ 1019613 w 2072600"/>
              <a:gd name="connsiteY111" fmla="*/ 287794 h 3641923"/>
              <a:gd name="connsiteX112" fmla="*/ 1019613 w 2072600"/>
              <a:gd name="connsiteY112" fmla="*/ 305449 h 3641923"/>
              <a:gd name="connsiteX113" fmla="*/ 1025175 w 2072600"/>
              <a:gd name="connsiteY113" fmla="*/ 311011 h 3641923"/>
              <a:gd name="connsiteX114" fmla="*/ 1025175 w 2072600"/>
              <a:gd name="connsiteY114" fmla="*/ 330842 h 3641923"/>
              <a:gd name="connsiteX115" fmla="*/ 983095 w 2072600"/>
              <a:gd name="connsiteY115" fmla="*/ 348739 h 3641923"/>
              <a:gd name="connsiteX116" fmla="*/ 947060 w 2072600"/>
              <a:gd name="connsiteY116" fmla="*/ 391545 h 3641923"/>
              <a:gd name="connsiteX117" fmla="*/ 947060 w 2072600"/>
              <a:gd name="connsiteY117" fmla="*/ 449104 h 3641923"/>
              <a:gd name="connsiteX118" fmla="*/ 953831 w 2072600"/>
              <a:gd name="connsiteY118" fmla="*/ 473046 h 3641923"/>
              <a:gd name="connsiteX119" fmla="*/ 1000991 w 2072600"/>
              <a:gd name="connsiteY119" fmla="*/ 520206 h 3641923"/>
              <a:gd name="connsiteX120" fmla="*/ 1000991 w 2072600"/>
              <a:gd name="connsiteY120" fmla="*/ 541730 h 3641923"/>
              <a:gd name="connsiteX121" fmla="*/ 945367 w 2072600"/>
              <a:gd name="connsiteY121" fmla="*/ 576797 h 3641923"/>
              <a:gd name="connsiteX122" fmla="*/ 945367 w 2072600"/>
              <a:gd name="connsiteY122" fmla="*/ 597354 h 3641923"/>
              <a:gd name="connsiteX123" fmla="*/ 975356 w 2072600"/>
              <a:gd name="connsiteY123" fmla="*/ 597354 h 3641923"/>
              <a:gd name="connsiteX124" fmla="*/ 975356 w 2072600"/>
              <a:gd name="connsiteY124" fmla="*/ 655638 h 3641923"/>
              <a:gd name="connsiteX125" fmla="*/ 949720 w 2072600"/>
              <a:gd name="connsiteY125" fmla="*/ 681274 h 3641923"/>
              <a:gd name="connsiteX126" fmla="*/ 949720 w 2072600"/>
              <a:gd name="connsiteY126" fmla="*/ 693124 h 3641923"/>
              <a:gd name="connsiteX127" fmla="*/ 961812 w 2072600"/>
              <a:gd name="connsiteY127" fmla="*/ 705216 h 3641923"/>
              <a:gd name="connsiteX128" fmla="*/ 972937 w 2072600"/>
              <a:gd name="connsiteY128" fmla="*/ 751650 h 3641923"/>
              <a:gd name="connsiteX129" fmla="*/ 978983 w 2072600"/>
              <a:gd name="connsiteY129" fmla="*/ 780671 h 3641923"/>
              <a:gd name="connsiteX130" fmla="*/ 1009697 w 2072600"/>
              <a:gd name="connsiteY130" fmla="*/ 805581 h 3641923"/>
              <a:gd name="connsiteX131" fmla="*/ 995187 w 2072600"/>
              <a:gd name="connsiteY131" fmla="*/ 820092 h 3641923"/>
              <a:gd name="connsiteX132" fmla="*/ 995187 w 2072600"/>
              <a:gd name="connsiteY132" fmla="*/ 843309 h 3641923"/>
              <a:gd name="connsiteX133" fmla="*/ 1006312 w 2072600"/>
              <a:gd name="connsiteY133" fmla="*/ 843309 h 3641923"/>
              <a:gd name="connsiteX134" fmla="*/ 975356 w 2072600"/>
              <a:gd name="connsiteY134" fmla="*/ 879344 h 3641923"/>
              <a:gd name="connsiteX135" fmla="*/ 960845 w 2072600"/>
              <a:gd name="connsiteY135" fmla="*/ 879344 h 3641923"/>
              <a:gd name="connsiteX136" fmla="*/ 960845 w 2072600"/>
              <a:gd name="connsiteY136" fmla="*/ 898207 h 3641923"/>
              <a:gd name="connsiteX137" fmla="*/ 953831 w 2072600"/>
              <a:gd name="connsiteY137" fmla="*/ 904979 h 3641923"/>
              <a:gd name="connsiteX138" fmla="*/ 953831 w 2072600"/>
              <a:gd name="connsiteY138" fmla="*/ 947785 h 3641923"/>
              <a:gd name="connsiteX139" fmla="*/ 960119 w 2072600"/>
              <a:gd name="connsiteY139" fmla="*/ 947785 h 3641923"/>
              <a:gd name="connsiteX140" fmla="*/ 960119 w 2072600"/>
              <a:gd name="connsiteY140" fmla="*/ 1026626 h 3641923"/>
              <a:gd name="connsiteX141" fmla="*/ 935209 w 2072600"/>
              <a:gd name="connsiteY141" fmla="*/ 1026626 h 3641923"/>
              <a:gd name="connsiteX142" fmla="*/ 935209 w 2072600"/>
              <a:gd name="connsiteY142" fmla="*/ 1056131 h 3641923"/>
              <a:gd name="connsiteX143" fmla="*/ 926745 w 2072600"/>
              <a:gd name="connsiteY143" fmla="*/ 1056131 h 3641923"/>
              <a:gd name="connsiteX144" fmla="*/ 926745 w 2072600"/>
              <a:gd name="connsiteY144" fmla="*/ 1088297 h 3641923"/>
              <a:gd name="connsiteX145" fmla="*/ 939563 w 2072600"/>
              <a:gd name="connsiteY145" fmla="*/ 1088297 h 3641923"/>
              <a:gd name="connsiteX146" fmla="*/ 968100 w 2072600"/>
              <a:gd name="connsiteY146" fmla="*/ 1108853 h 3641923"/>
              <a:gd name="connsiteX147" fmla="*/ 968100 w 2072600"/>
              <a:gd name="connsiteY147" fmla="*/ 1130619 h 3641923"/>
              <a:gd name="connsiteX148" fmla="*/ 953831 w 2072600"/>
              <a:gd name="connsiteY148" fmla="*/ 1130619 h 3641923"/>
              <a:gd name="connsiteX149" fmla="*/ 953831 w 2072600"/>
              <a:gd name="connsiteY149" fmla="*/ 1152385 h 3641923"/>
              <a:gd name="connsiteX150" fmla="*/ 968100 w 2072600"/>
              <a:gd name="connsiteY150" fmla="*/ 1152385 h 3641923"/>
              <a:gd name="connsiteX151" fmla="*/ 953831 w 2072600"/>
              <a:gd name="connsiteY151" fmla="*/ 1686376 h 3641923"/>
              <a:gd name="connsiteX152" fmla="*/ 936661 w 2072600"/>
              <a:gd name="connsiteY152" fmla="*/ 1686376 h 3641923"/>
              <a:gd name="connsiteX153" fmla="*/ 936661 w 2072600"/>
              <a:gd name="connsiteY153" fmla="*/ 1726038 h 3641923"/>
              <a:gd name="connsiteX154" fmla="*/ 940046 w 2072600"/>
              <a:gd name="connsiteY154" fmla="*/ 1726038 h 3641923"/>
              <a:gd name="connsiteX155" fmla="*/ 919731 w 2072600"/>
              <a:gd name="connsiteY155" fmla="*/ 1741516 h 3641923"/>
              <a:gd name="connsiteX156" fmla="*/ 686352 w 2072600"/>
              <a:gd name="connsiteY156" fmla="*/ 2003433 h 3641923"/>
              <a:gd name="connsiteX157" fmla="*/ 667005 w 2072600"/>
              <a:gd name="connsiteY157" fmla="*/ 2003433 h 3641923"/>
              <a:gd name="connsiteX158" fmla="*/ 667005 w 2072600"/>
              <a:gd name="connsiteY158" fmla="*/ 2042128 h 3641923"/>
              <a:gd name="connsiteX159" fmla="*/ 686352 w 2072600"/>
              <a:gd name="connsiteY159" fmla="*/ 2042128 h 3641923"/>
              <a:gd name="connsiteX160" fmla="*/ 686352 w 2072600"/>
              <a:gd name="connsiteY160" fmla="*/ 2060024 h 3641923"/>
              <a:gd name="connsiteX161" fmla="*/ 652736 w 2072600"/>
              <a:gd name="connsiteY161" fmla="*/ 2060024 h 3641923"/>
              <a:gd name="connsiteX162" fmla="*/ 652736 w 2072600"/>
              <a:gd name="connsiteY162" fmla="*/ 2098478 h 3641923"/>
              <a:gd name="connsiteX163" fmla="*/ 582601 w 2072600"/>
              <a:gd name="connsiteY163" fmla="*/ 2115165 h 3641923"/>
              <a:gd name="connsiteX164" fmla="*/ 582601 w 2072600"/>
              <a:gd name="connsiteY164" fmla="*/ 2318797 h 3641923"/>
              <a:gd name="connsiteX165" fmla="*/ 566398 w 2072600"/>
              <a:gd name="connsiteY165" fmla="*/ 2318797 h 3641923"/>
              <a:gd name="connsiteX166" fmla="*/ 566398 w 2072600"/>
              <a:gd name="connsiteY166" fmla="*/ 2333308 h 3641923"/>
              <a:gd name="connsiteX167" fmla="*/ 522624 w 2072600"/>
              <a:gd name="connsiteY167" fmla="*/ 2333308 h 3641923"/>
              <a:gd name="connsiteX168" fmla="*/ 522624 w 2072600"/>
              <a:gd name="connsiteY168" fmla="*/ 2371761 h 3641923"/>
              <a:gd name="connsiteX169" fmla="*/ 528670 w 2072600"/>
              <a:gd name="connsiteY169" fmla="*/ 2371761 h 3641923"/>
              <a:gd name="connsiteX170" fmla="*/ 528670 w 2072600"/>
              <a:gd name="connsiteY170" fmla="*/ 2382886 h 3641923"/>
              <a:gd name="connsiteX171" fmla="*/ 512467 w 2072600"/>
              <a:gd name="connsiteY171" fmla="*/ 2382886 h 3641923"/>
              <a:gd name="connsiteX172" fmla="*/ 512467 w 2072600"/>
              <a:gd name="connsiteY172" fmla="*/ 2410456 h 3641923"/>
              <a:gd name="connsiteX173" fmla="*/ 546809 w 2072600"/>
              <a:gd name="connsiteY173" fmla="*/ 2410456 h 3641923"/>
              <a:gd name="connsiteX174" fmla="*/ 546809 w 2072600"/>
              <a:gd name="connsiteY174" fmla="*/ 2455681 h 3641923"/>
              <a:gd name="connsiteX175" fmla="*/ 533023 w 2072600"/>
              <a:gd name="connsiteY175" fmla="*/ 2455681 h 3641923"/>
              <a:gd name="connsiteX176" fmla="*/ 533023 w 2072600"/>
              <a:gd name="connsiteY176" fmla="*/ 2509612 h 3641923"/>
              <a:gd name="connsiteX177" fmla="*/ 546809 w 2072600"/>
              <a:gd name="connsiteY177" fmla="*/ 2509612 h 3641923"/>
              <a:gd name="connsiteX178" fmla="*/ 546809 w 2072600"/>
              <a:gd name="connsiteY178" fmla="*/ 2642384 h 3641923"/>
              <a:gd name="connsiteX179" fmla="*/ 531331 w 2072600"/>
              <a:gd name="connsiteY179" fmla="*/ 2642384 h 3641923"/>
              <a:gd name="connsiteX180" fmla="*/ 531331 w 2072600"/>
              <a:gd name="connsiteY180" fmla="*/ 2878907 h 3641923"/>
              <a:gd name="connsiteX181" fmla="*/ 293115 w 2072600"/>
              <a:gd name="connsiteY181" fmla="*/ 2878907 h 3641923"/>
              <a:gd name="connsiteX182" fmla="*/ 293115 w 2072600"/>
              <a:gd name="connsiteY182" fmla="*/ 2799341 h 3641923"/>
              <a:gd name="connsiteX183" fmla="*/ 266754 w 2072600"/>
              <a:gd name="connsiteY183" fmla="*/ 2799341 h 3641923"/>
              <a:gd name="connsiteX184" fmla="*/ 266754 w 2072600"/>
              <a:gd name="connsiteY184" fmla="*/ 2710584 h 3641923"/>
              <a:gd name="connsiteX185" fmla="*/ 192749 w 2072600"/>
              <a:gd name="connsiteY185" fmla="*/ 2710584 h 3641923"/>
              <a:gd name="connsiteX186" fmla="*/ 192749 w 2072600"/>
              <a:gd name="connsiteY186" fmla="*/ 2690027 h 3641923"/>
              <a:gd name="connsiteX187" fmla="*/ 244262 w 2072600"/>
              <a:gd name="connsiteY187" fmla="*/ 2655202 h 3641923"/>
              <a:gd name="connsiteX188" fmla="*/ 56591 w 2072600"/>
              <a:gd name="connsiteY188" fmla="*/ 2655202 h 3641923"/>
              <a:gd name="connsiteX189" fmla="*/ 113183 w 2072600"/>
              <a:gd name="connsiteY189" fmla="*/ 2694622 h 3641923"/>
              <a:gd name="connsiteX190" fmla="*/ 113183 w 2072600"/>
              <a:gd name="connsiteY190" fmla="*/ 2712519 h 3641923"/>
              <a:gd name="connsiteX191" fmla="*/ 30956 w 2072600"/>
              <a:gd name="connsiteY191" fmla="*/ 2712519 h 3641923"/>
              <a:gd name="connsiteX192" fmla="*/ 30956 w 2072600"/>
              <a:gd name="connsiteY192" fmla="*/ 2805145 h 3641923"/>
              <a:gd name="connsiteX193" fmla="*/ 21766 w 2072600"/>
              <a:gd name="connsiteY193" fmla="*/ 2805145 h 3641923"/>
              <a:gd name="connsiteX194" fmla="*/ 21766 w 2072600"/>
              <a:gd name="connsiteY194" fmla="*/ 2878423 h 3641923"/>
              <a:gd name="connsiteX195" fmla="*/ 10399 w 2072600"/>
              <a:gd name="connsiteY195" fmla="*/ 2878423 h 3641923"/>
              <a:gd name="connsiteX196" fmla="*/ 10399 w 2072600"/>
              <a:gd name="connsiteY196" fmla="*/ 2995476 h 3641923"/>
              <a:gd name="connsiteX197" fmla="*/ 0 w 2072600"/>
              <a:gd name="connsiteY197" fmla="*/ 2995476 h 3641923"/>
              <a:gd name="connsiteX198" fmla="*/ 0 w 2072600"/>
              <a:gd name="connsiteY198" fmla="*/ 3041910 h 3641923"/>
              <a:gd name="connsiteX199" fmla="*/ 10399 w 2072600"/>
              <a:gd name="connsiteY199" fmla="*/ 3052067 h 3641923"/>
              <a:gd name="connsiteX200" fmla="*/ 10399 w 2072600"/>
              <a:gd name="connsiteY200" fmla="*/ 3460541 h 3641923"/>
              <a:gd name="connsiteX201" fmla="*/ 10399 w 2072600"/>
              <a:gd name="connsiteY201" fmla="*/ 3460783 h 3641923"/>
              <a:gd name="connsiteX202" fmla="*/ 10399 w 2072600"/>
              <a:gd name="connsiteY202" fmla="*/ 3641924 h 3641923"/>
              <a:gd name="connsiteX203" fmla="*/ 2062201 w 2072600"/>
              <a:gd name="connsiteY203" fmla="*/ 3641924 h 3641923"/>
              <a:gd name="connsiteX204" fmla="*/ 2062201 w 2072600"/>
              <a:gd name="connsiteY204" fmla="*/ 3108900 h 3641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</a:cxnLst>
            <a:rect l="l" t="t" r="r" b="b"/>
            <a:pathLst>
              <a:path w="2072600" h="3641923">
                <a:moveTo>
                  <a:pt x="2062443" y="3108900"/>
                </a:moveTo>
                <a:lnTo>
                  <a:pt x="2062443" y="3053034"/>
                </a:lnTo>
                <a:lnTo>
                  <a:pt x="2072600" y="3042877"/>
                </a:lnTo>
                <a:lnTo>
                  <a:pt x="2072600" y="2996443"/>
                </a:lnTo>
                <a:lnTo>
                  <a:pt x="2062443" y="2996443"/>
                </a:lnTo>
                <a:lnTo>
                  <a:pt x="2062443" y="2879391"/>
                </a:lnTo>
                <a:lnTo>
                  <a:pt x="2050834" y="2879391"/>
                </a:lnTo>
                <a:lnTo>
                  <a:pt x="2050834" y="2806112"/>
                </a:lnTo>
                <a:lnTo>
                  <a:pt x="2041886" y="2806112"/>
                </a:lnTo>
                <a:lnTo>
                  <a:pt x="2041886" y="2713486"/>
                </a:lnTo>
                <a:lnTo>
                  <a:pt x="1959659" y="2713486"/>
                </a:lnTo>
                <a:lnTo>
                  <a:pt x="1959659" y="2695590"/>
                </a:lnTo>
                <a:cubicBezTo>
                  <a:pt x="1959659" y="2695590"/>
                  <a:pt x="2012865" y="2685190"/>
                  <a:pt x="2016009" y="2656169"/>
                </a:cubicBezTo>
                <a:lnTo>
                  <a:pt x="1828338" y="2656169"/>
                </a:lnTo>
                <a:cubicBezTo>
                  <a:pt x="1828338" y="2656169"/>
                  <a:pt x="1839463" y="2684465"/>
                  <a:pt x="1879851" y="2690994"/>
                </a:cubicBezTo>
                <a:lnTo>
                  <a:pt x="1879851" y="2711551"/>
                </a:lnTo>
                <a:lnTo>
                  <a:pt x="1806089" y="2711551"/>
                </a:lnTo>
                <a:lnTo>
                  <a:pt x="1806089" y="2800308"/>
                </a:lnTo>
                <a:lnTo>
                  <a:pt x="1779727" y="2800308"/>
                </a:lnTo>
                <a:lnTo>
                  <a:pt x="1779727" y="2879875"/>
                </a:lnTo>
                <a:lnTo>
                  <a:pt x="1541512" y="2879875"/>
                </a:lnTo>
                <a:lnTo>
                  <a:pt x="1541512" y="2643351"/>
                </a:lnTo>
                <a:lnTo>
                  <a:pt x="1526034" y="2643351"/>
                </a:lnTo>
                <a:lnTo>
                  <a:pt x="1526034" y="2510579"/>
                </a:lnTo>
                <a:lnTo>
                  <a:pt x="1539819" y="2510579"/>
                </a:lnTo>
                <a:lnTo>
                  <a:pt x="1539819" y="2456648"/>
                </a:lnTo>
                <a:lnTo>
                  <a:pt x="1526034" y="2456648"/>
                </a:lnTo>
                <a:lnTo>
                  <a:pt x="1526034" y="2411181"/>
                </a:lnTo>
                <a:lnTo>
                  <a:pt x="1560375" y="2411181"/>
                </a:lnTo>
                <a:lnTo>
                  <a:pt x="1560375" y="2383611"/>
                </a:lnTo>
                <a:lnTo>
                  <a:pt x="1544172" y="2383611"/>
                </a:lnTo>
                <a:lnTo>
                  <a:pt x="1544172" y="2372486"/>
                </a:lnTo>
                <a:lnTo>
                  <a:pt x="1550218" y="2372486"/>
                </a:lnTo>
                <a:lnTo>
                  <a:pt x="1550218" y="2334033"/>
                </a:lnTo>
                <a:lnTo>
                  <a:pt x="1506686" y="2334033"/>
                </a:lnTo>
                <a:lnTo>
                  <a:pt x="1506686" y="2319523"/>
                </a:lnTo>
                <a:lnTo>
                  <a:pt x="1489757" y="2319523"/>
                </a:lnTo>
                <a:lnTo>
                  <a:pt x="1489757" y="2115890"/>
                </a:lnTo>
                <a:lnTo>
                  <a:pt x="1419622" y="2099203"/>
                </a:lnTo>
                <a:lnTo>
                  <a:pt x="1419622" y="2060508"/>
                </a:lnTo>
                <a:lnTo>
                  <a:pt x="1386248" y="2060508"/>
                </a:lnTo>
                <a:lnTo>
                  <a:pt x="1386248" y="2042612"/>
                </a:lnTo>
                <a:lnTo>
                  <a:pt x="1405595" y="2042612"/>
                </a:lnTo>
                <a:lnTo>
                  <a:pt x="1405595" y="2003917"/>
                </a:lnTo>
                <a:lnTo>
                  <a:pt x="1386248" y="2003917"/>
                </a:lnTo>
                <a:cubicBezTo>
                  <a:pt x="1386248" y="2003917"/>
                  <a:pt x="1352148" y="1830273"/>
                  <a:pt x="1152869" y="1742000"/>
                </a:cubicBezTo>
                <a:lnTo>
                  <a:pt x="1132554" y="1726522"/>
                </a:lnTo>
                <a:lnTo>
                  <a:pt x="1135940" y="1726522"/>
                </a:lnTo>
                <a:lnTo>
                  <a:pt x="1135940" y="1686860"/>
                </a:lnTo>
                <a:lnTo>
                  <a:pt x="1118769" y="1686860"/>
                </a:lnTo>
                <a:lnTo>
                  <a:pt x="1104742" y="1152869"/>
                </a:lnTo>
                <a:lnTo>
                  <a:pt x="1118769" y="1152869"/>
                </a:lnTo>
                <a:lnTo>
                  <a:pt x="1118769" y="1131103"/>
                </a:lnTo>
                <a:lnTo>
                  <a:pt x="1104742" y="1131103"/>
                </a:lnTo>
                <a:lnTo>
                  <a:pt x="1104742" y="1109337"/>
                </a:lnTo>
                <a:lnTo>
                  <a:pt x="1133038" y="1088780"/>
                </a:lnTo>
                <a:lnTo>
                  <a:pt x="1145855" y="1088780"/>
                </a:lnTo>
                <a:lnTo>
                  <a:pt x="1145855" y="1056615"/>
                </a:lnTo>
                <a:lnTo>
                  <a:pt x="1137633" y="1056615"/>
                </a:lnTo>
                <a:lnTo>
                  <a:pt x="1137633" y="1027110"/>
                </a:lnTo>
                <a:lnTo>
                  <a:pt x="1112723" y="1027110"/>
                </a:lnTo>
                <a:lnTo>
                  <a:pt x="1112723" y="948027"/>
                </a:lnTo>
                <a:lnTo>
                  <a:pt x="1119011" y="948027"/>
                </a:lnTo>
                <a:lnTo>
                  <a:pt x="1119011" y="905221"/>
                </a:lnTo>
                <a:lnTo>
                  <a:pt x="1111997" y="898449"/>
                </a:lnTo>
                <a:lnTo>
                  <a:pt x="1111997" y="879585"/>
                </a:lnTo>
                <a:lnTo>
                  <a:pt x="1097487" y="879585"/>
                </a:lnTo>
                <a:lnTo>
                  <a:pt x="1066772" y="843551"/>
                </a:lnTo>
                <a:lnTo>
                  <a:pt x="1077897" y="843551"/>
                </a:lnTo>
                <a:lnTo>
                  <a:pt x="1077897" y="820334"/>
                </a:lnTo>
                <a:lnTo>
                  <a:pt x="1063387" y="805823"/>
                </a:lnTo>
                <a:lnTo>
                  <a:pt x="1094101" y="780913"/>
                </a:lnTo>
                <a:lnTo>
                  <a:pt x="1100147" y="751892"/>
                </a:lnTo>
                <a:lnTo>
                  <a:pt x="1111272" y="705458"/>
                </a:lnTo>
                <a:lnTo>
                  <a:pt x="1123364" y="693366"/>
                </a:lnTo>
                <a:lnTo>
                  <a:pt x="1123364" y="681515"/>
                </a:lnTo>
                <a:lnTo>
                  <a:pt x="1097487" y="655880"/>
                </a:lnTo>
                <a:lnTo>
                  <a:pt x="1097487" y="597354"/>
                </a:lnTo>
                <a:lnTo>
                  <a:pt x="1127475" y="597354"/>
                </a:lnTo>
                <a:lnTo>
                  <a:pt x="1127475" y="576797"/>
                </a:lnTo>
                <a:lnTo>
                  <a:pt x="1071851" y="541730"/>
                </a:lnTo>
                <a:lnTo>
                  <a:pt x="1071851" y="520206"/>
                </a:lnTo>
                <a:lnTo>
                  <a:pt x="1119011" y="473046"/>
                </a:lnTo>
                <a:lnTo>
                  <a:pt x="1125782" y="449104"/>
                </a:lnTo>
                <a:lnTo>
                  <a:pt x="1125782" y="391545"/>
                </a:lnTo>
                <a:lnTo>
                  <a:pt x="1089748" y="348739"/>
                </a:lnTo>
                <a:lnTo>
                  <a:pt x="1047667" y="330842"/>
                </a:lnTo>
                <a:lnTo>
                  <a:pt x="1047667" y="311011"/>
                </a:lnTo>
                <a:lnTo>
                  <a:pt x="1053229" y="305449"/>
                </a:lnTo>
                <a:lnTo>
                  <a:pt x="1053229" y="287794"/>
                </a:lnTo>
                <a:lnTo>
                  <a:pt x="1047667" y="287794"/>
                </a:lnTo>
                <a:lnTo>
                  <a:pt x="1047667" y="272316"/>
                </a:lnTo>
                <a:lnTo>
                  <a:pt x="1055406" y="272316"/>
                </a:lnTo>
                <a:lnTo>
                  <a:pt x="1055406" y="244262"/>
                </a:lnTo>
                <a:lnTo>
                  <a:pt x="1047667" y="244262"/>
                </a:lnTo>
                <a:lnTo>
                  <a:pt x="1047667" y="205809"/>
                </a:lnTo>
                <a:lnTo>
                  <a:pt x="1053713" y="205809"/>
                </a:lnTo>
                <a:lnTo>
                  <a:pt x="1053713" y="184285"/>
                </a:lnTo>
                <a:lnTo>
                  <a:pt x="1047667" y="184285"/>
                </a:lnTo>
                <a:lnTo>
                  <a:pt x="1047667" y="102784"/>
                </a:lnTo>
                <a:lnTo>
                  <a:pt x="1036300" y="0"/>
                </a:lnTo>
                <a:lnTo>
                  <a:pt x="1025175" y="102784"/>
                </a:lnTo>
                <a:lnTo>
                  <a:pt x="1025175" y="184043"/>
                </a:lnTo>
                <a:lnTo>
                  <a:pt x="1019129" y="184043"/>
                </a:lnTo>
                <a:lnTo>
                  <a:pt x="1019129" y="205567"/>
                </a:lnTo>
                <a:lnTo>
                  <a:pt x="1025175" y="205567"/>
                </a:lnTo>
                <a:lnTo>
                  <a:pt x="1025175" y="244020"/>
                </a:lnTo>
                <a:lnTo>
                  <a:pt x="1017436" y="244020"/>
                </a:lnTo>
                <a:lnTo>
                  <a:pt x="1017436" y="272316"/>
                </a:lnTo>
                <a:lnTo>
                  <a:pt x="1025175" y="272316"/>
                </a:lnTo>
                <a:lnTo>
                  <a:pt x="1025175" y="287794"/>
                </a:lnTo>
                <a:lnTo>
                  <a:pt x="1019613" y="287794"/>
                </a:lnTo>
                <a:lnTo>
                  <a:pt x="1019613" y="305449"/>
                </a:lnTo>
                <a:lnTo>
                  <a:pt x="1025175" y="311011"/>
                </a:lnTo>
                <a:lnTo>
                  <a:pt x="1025175" y="330842"/>
                </a:lnTo>
                <a:lnTo>
                  <a:pt x="983095" y="348739"/>
                </a:lnTo>
                <a:lnTo>
                  <a:pt x="947060" y="391545"/>
                </a:lnTo>
                <a:lnTo>
                  <a:pt x="947060" y="449104"/>
                </a:lnTo>
                <a:lnTo>
                  <a:pt x="953831" y="473046"/>
                </a:lnTo>
                <a:lnTo>
                  <a:pt x="1000991" y="520206"/>
                </a:lnTo>
                <a:lnTo>
                  <a:pt x="1000991" y="541730"/>
                </a:lnTo>
                <a:lnTo>
                  <a:pt x="945367" y="576797"/>
                </a:lnTo>
                <a:lnTo>
                  <a:pt x="945367" y="597354"/>
                </a:lnTo>
                <a:lnTo>
                  <a:pt x="975356" y="597354"/>
                </a:lnTo>
                <a:lnTo>
                  <a:pt x="975356" y="655638"/>
                </a:lnTo>
                <a:lnTo>
                  <a:pt x="949720" y="681274"/>
                </a:lnTo>
                <a:lnTo>
                  <a:pt x="949720" y="693124"/>
                </a:lnTo>
                <a:lnTo>
                  <a:pt x="961812" y="705216"/>
                </a:lnTo>
                <a:lnTo>
                  <a:pt x="972937" y="751650"/>
                </a:lnTo>
                <a:lnTo>
                  <a:pt x="978983" y="780671"/>
                </a:lnTo>
                <a:lnTo>
                  <a:pt x="1009697" y="805581"/>
                </a:lnTo>
                <a:lnTo>
                  <a:pt x="995187" y="820092"/>
                </a:lnTo>
                <a:lnTo>
                  <a:pt x="995187" y="843309"/>
                </a:lnTo>
                <a:lnTo>
                  <a:pt x="1006312" y="843309"/>
                </a:lnTo>
                <a:lnTo>
                  <a:pt x="975356" y="879344"/>
                </a:lnTo>
                <a:lnTo>
                  <a:pt x="960845" y="879344"/>
                </a:lnTo>
                <a:lnTo>
                  <a:pt x="960845" y="898207"/>
                </a:lnTo>
                <a:lnTo>
                  <a:pt x="953831" y="904979"/>
                </a:lnTo>
                <a:lnTo>
                  <a:pt x="953831" y="947785"/>
                </a:lnTo>
                <a:lnTo>
                  <a:pt x="960119" y="947785"/>
                </a:lnTo>
                <a:lnTo>
                  <a:pt x="960119" y="1026626"/>
                </a:lnTo>
                <a:lnTo>
                  <a:pt x="935209" y="1026626"/>
                </a:lnTo>
                <a:lnTo>
                  <a:pt x="935209" y="1056131"/>
                </a:lnTo>
                <a:lnTo>
                  <a:pt x="926745" y="1056131"/>
                </a:lnTo>
                <a:lnTo>
                  <a:pt x="926745" y="1088297"/>
                </a:lnTo>
                <a:lnTo>
                  <a:pt x="939563" y="1088297"/>
                </a:lnTo>
                <a:lnTo>
                  <a:pt x="968100" y="1108853"/>
                </a:lnTo>
                <a:lnTo>
                  <a:pt x="968100" y="1130619"/>
                </a:lnTo>
                <a:lnTo>
                  <a:pt x="953831" y="1130619"/>
                </a:lnTo>
                <a:lnTo>
                  <a:pt x="953831" y="1152385"/>
                </a:lnTo>
                <a:lnTo>
                  <a:pt x="968100" y="1152385"/>
                </a:lnTo>
                <a:lnTo>
                  <a:pt x="953831" y="1686376"/>
                </a:lnTo>
                <a:lnTo>
                  <a:pt x="936661" y="1686376"/>
                </a:lnTo>
                <a:lnTo>
                  <a:pt x="936661" y="1726038"/>
                </a:lnTo>
                <a:lnTo>
                  <a:pt x="940046" y="1726038"/>
                </a:lnTo>
                <a:lnTo>
                  <a:pt x="919731" y="1741516"/>
                </a:lnTo>
                <a:cubicBezTo>
                  <a:pt x="720452" y="1829789"/>
                  <a:pt x="686352" y="2003433"/>
                  <a:pt x="686352" y="2003433"/>
                </a:cubicBezTo>
                <a:lnTo>
                  <a:pt x="667005" y="2003433"/>
                </a:lnTo>
                <a:lnTo>
                  <a:pt x="667005" y="2042128"/>
                </a:lnTo>
                <a:lnTo>
                  <a:pt x="686352" y="2042128"/>
                </a:lnTo>
                <a:lnTo>
                  <a:pt x="686352" y="2060024"/>
                </a:lnTo>
                <a:lnTo>
                  <a:pt x="652736" y="2060024"/>
                </a:lnTo>
                <a:lnTo>
                  <a:pt x="652736" y="2098478"/>
                </a:lnTo>
                <a:lnTo>
                  <a:pt x="582601" y="2115165"/>
                </a:lnTo>
                <a:lnTo>
                  <a:pt x="582601" y="2318797"/>
                </a:lnTo>
                <a:lnTo>
                  <a:pt x="566398" y="2318797"/>
                </a:lnTo>
                <a:lnTo>
                  <a:pt x="566398" y="2333308"/>
                </a:lnTo>
                <a:lnTo>
                  <a:pt x="522624" y="2333308"/>
                </a:lnTo>
                <a:lnTo>
                  <a:pt x="522624" y="2371761"/>
                </a:lnTo>
                <a:lnTo>
                  <a:pt x="528670" y="2371761"/>
                </a:lnTo>
                <a:lnTo>
                  <a:pt x="528670" y="2382886"/>
                </a:lnTo>
                <a:lnTo>
                  <a:pt x="512467" y="2382886"/>
                </a:lnTo>
                <a:lnTo>
                  <a:pt x="512467" y="2410456"/>
                </a:lnTo>
                <a:lnTo>
                  <a:pt x="546809" y="2410456"/>
                </a:lnTo>
                <a:lnTo>
                  <a:pt x="546809" y="2455681"/>
                </a:lnTo>
                <a:lnTo>
                  <a:pt x="533023" y="2455681"/>
                </a:lnTo>
                <a:lnTo>
                  <a:pt x="533023" y="2509612"/>
                </a:lnTo>
                <a:lnTo>
                  <a:pt x="546809" y="2509612"/>
                </a:lnTo>
                <a:lnTo>
                  <a:pt x="546809" y="2642384"/>
                </a:lnTo>
                <a:lnTo>
                  <a:pt x="531331" y="2642384"/>
                </a:lnTo>
                <a:lnTo>
                  <a:pt x="531331" y="2878907"/>
                </a:lnTo>
                <a:lnTo>
                  <a:pt x="293115" y="2878907"/>
                </a:lnTo>
                <a:lnTo>
                  <a:pt x="293115" y="2799341"/>
                </a:lnTo>
                <a:lnTo>
                  <a:pt x="266754" y="2799341"/>
                </a:lnTo>
                <a:lnTo>
                  <a:pt x="266754" y="2710584"/>
                </a:lnTo>
                <a:lnTo>
                  <a:pt x="192749" y="2710584"/>
                </a:lnTo>
                <a:lnTo>
                  <a:pt x="192749" y="2690027"/>
                </a:lnTo>
                <a:cubicBezTo>
                  <a:pt x="233379" y="2683739"/>
                  <a:pt x="244262" y="2655202"/>
                  <a:pt x="244262" y="2655202"/>
                </a:cubicBezTo>
                <a:lnTo>
                  <a:pt x="56591" y="2655202"/>
                </a:lnTo>
                <a:cubicBezTo>
                  <a:pt x="59735" y="2684223"/>
                  <a:pt x="113183" y="2694622"/>
                  <a:pt x="113183" y="2694622"/>
                </a:cubicBezTo>
                <a:lnTo>
                  <a:pt x="113183" y="2712519"/>
                </a:lnTo>
                <a:lnTo>
                  <a:pt x="30956" y="2712519"/>
                </a:lnTo>
                <a:lnTo>
                  <a:pt x="30956" y="2805145"/>
                </a:lnTo>
                <a:lnTo>
                  <a:pt x="21766" y="2805145"/>
                </a:lnTo>
                <a:lnTo>
                  <a:pt x="21766" y="2878423"/>
                </a:lnTo>
                <a:lnTo>
                  <a:pt x="10399" y="2878423"/>
                </a:lnTo>
                <a:lnTo>
                  <a:pt x="10399" y="2995476"/>
                </a:lnTo>
                <a:lnTo>
                  <a:pt x="0" y="2995476"/>
                </a:lnTo>
                <a:lnTo>
                  <a:pt x="0" y="3041910"/>
                </a:lnTo>
                <a:lnTo>
                  <a:pt x="10399" y="3052067"/>
                </a:lnTo>
                <a:lnTo>
                  <a:pt x="10399" y="3460541"/>
                </a:lnTo>
                <a:lnTo>
                  <a:pt x="10399" y="3460783"/>
                </a:lnTo>
                <a:lnTo>
                  <a:pt x="10399" y="3641924"/>
                </a:lnTo>
                <a:lnTo>
                  <a:pt x="2062201" y="3641924"/>
                </a:lnTo>
                <a:lnTo>
                  <a:pt x="2062201" y="310890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2417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C2D9E14-52A6-F9C2-0A73-2D490A123878}"/>
              </a:ext>
            </a:extLst>
          </p:cNvPr>
          <p:cNvSpPr/>
          <p:nvPr/>
        </p:nvSpPr>
        <p:spPr>
          <a:xfrm>
            <a:off x="8050426" y="4969982"/>
            <a:ext cx="1451304" cy="2086627"/>
          </a:xfrm>
          <a:custGeom>
            <a:avLst/>
            <a:gdLst>
              <a:gd name="connsiteX0" fmla="*/ 1366900 w 1451304"/>
              <a:gd name="connsiteY0" fmla="*/ 499165 h 2086627"/>
              <a:gd name="connsiteX1" fmla="*/ 1344651 w 1451304"/>
              <a:gd name="connsiteY1" fmla="*/ 499165 h 2086627"/>
              <a:gd name="connsiteX2" fmla="*/ 1344651 w 1451304"/>
              <a:gd name="connsiteY2" fmla="*/ 392996 h 2086627"/>
              <a:gd name="connsiteX3" fmla="*/ 1229533 w 1451304"/>
              <a:gd name="connsiteY3" fmla="*/ 392996 h 2086627"/>
              <a:gd name="connsiteX4" fmla="*/ 1229533 w 1451304"/>
              <a:gd name="connsiteY4" fmla="*/ 244262 h 2086627"/>
              <a:gd name="connsiteX5" fmla="*/ 1220102 w 1451304"/>
              <a:gd name="connsiteY5" fmla="*/ 244262 h 2086627"/>
              <a:gd name="connsiteX6" fmla="*/ 1220102 w 1451304"/>
              <a:gd name="connsiteY6" fmla="*/ 137125 h 2086627"/>
              <a:gd name="connsiteX7" fmla="*/ 1209944 w 1451304"/>
              <a:gd name="connsiteY7" fmla="*/ 137125 h 2086627"/>
              <a:gd name="connsiteX8" fmla="*/ 1209944 w 1451304"/>
              <a:gd name="connsiteY8" fmla="*/ 148250 h 2086627"/>
              <a:gd name="connsiteX9" fmla="*/ 991801 w 1451304"/>
              <a:gd name="connsiteY9" fmla="*/ 148250 h 2086627"/>
              <a:gd name="connsiteX10" fmla="*/ 991801 w 1451304"/>
              <a:gd name="connsiteY10" fmla="*/ 104476 h 2086627"/>
              <a:gd name="connsiteX11" fmla="*/ 918280 w 1451304"/>
              <a:gd name="connsiteY11" fmla="*/ 104476 h 2086627"/>
              <a:gd name="connsiteX12" fmla="*/ 809451 w 1451304"/>
              <a:gd name="connsiteY12" fmla="*/ 49578 h 2086627"/>
              <a:gd name="connsiteX13" fmla="*/ 803163 w 1451304"/>
              <a:gd name="connsiteY13" fmla="*/ 24184 h 2086627"/>
              <a:gd name="connsiteX14" fmla="*/ 725773 w 1451304"/>
              <a:gd name="connsiteY14" fmla="*/ 0 h 2086627"/>
              <a:gd name="connsiteX15" fmla="*/ 648141 w 1451304"/>
              <a:gd name="connsiteY15" fmla="*/ 24184 h 2086627"/>
              <a:gd name="connsiteX16" fmla="*/ 642095 w 1451304"/>
              <a:gd name="connsiteY16" fmla="*/ 49578 h 2086627"/>
              <a:gd name="connsiteX17" fmla="*/ 533024 w 1451304"/>
              <a:gd name="connsiteY17" fmla="*/ 104476 h 2086627"/>
              <a:gd name="connsiteX18" fmla="*/ 459503 w 1451304"/>
              <a:gd name="connsiteY18" fmla="*/ 104476 h 2086627"/>
              <a:gd name="connsiteX19" fmla="*/ 459503 w 1451304"/>
              <a:gd name="connsiteY19" fmla="*/ 148250 h 2086627"/>
              <a:gd name="connsiteX20" fmla="*/ 241360 w 1451304"/>
              <a:gd name="connsiteY20" fmla="*/ 148250 h 2086627"/>
              <a:gd name="connsiteX21" fmla="*/ 241360 w 1451304"/>
              <a:gd name="connsiteY21" fmla="*/ 137125 h 2086627"/>
              <a:gd name="connsiteX22" fmla="*/ 231202 w 1451304"/>
              <a:gd name="connsiteY22" fmla="*/ 137125 h 2086627"/>
              <a:gd name="connsiteX23" fmla="*/ 231202 w 1451304"/>
              <a:gd name="connsiteY23" fmla="*/ 244262 h 2086627"/>
              <a:gd name="connsiteX24" fmla="*/ 222254 w 1451304"/>
              <a:gd name="connsiteY24" fmla="*/ 244262 h 2086627"/>
              <a:gd name="connsiteX25" fmla="*/ 222254 w 1451304"/>
              <a:gd name="connsiteY25" fmla="*/ 392996 h 2086627"/>
              <a:gd name="connsiteX26" fmla="*/ 107137 w 1451304"/>
              <a:gd name="connsiteY26" fmla="*/ 392996 h 2086627"/>
              <a:gd name="connsiteX27" fmla="*/ 107137 w 1451304"/>
              <a:gd name="connsiteY27" fmla="*/ 499165 h 2086627"/>
              <a:gd name="connsiteX28" fmla="*/ 84645 w 1451304"/>
              <a:gd name="connsiteY28" fmla="*/ 499165 h 2086627"/>
              <a:gd name="connsiteX29" fmla="*/ 84645 w 1451304"/>
              <a:gd name="connsiteY29" fmla="*/ 626375 h 2086627"/>
              <a:gd name="connsiteX30" fmla="*/ 0 w 1451304"/>
              <a:gd name="connsiteY30" fmla="*/ 626375 h 2086627"/>
              <a:gd name="connsiteX31" fmla="*/ 0 w 1451304"/>
              <a:gd name="connsiteY31" fmla="*/ 636774 h 2086627"/>
              <a:gd name="connsiteX32" fmla="*/ 16445 w 1451304"/>
              <a:gd name="connsiteY32" fmla="*/ 657089 h 2086627"/>
              <a:gd name="connsiteX33" fmla="*/ 16445 w 1451304"/>
              <a:gd name="connsiteY33" fmla="*/ 669181 h 2086627"/>
              <a:gd name="connsiteX34" fmla="*/ 75455 w 1451304"/>
              <a:gd name="connsiteY34" fmla="*/ 764951 h 2086627"/>
              <a:gd name="connsiteX35" fmla="*/ 75455 w 1451304"/>
              <a:gd name="connsiteY35" fmla="*/ 788410 h 2086627"/>
              <a:gd name="connsiteX36" fmla="*/ 90208 w 1451304"/>
              <a:gd name="connsiteY36" fmla="*/ 788410 h 2086627"/>
              <a:gd name="connsiteX37" fmla="*/ 90208 w 1451304"/>
              <a:gd name="connsiteY37" fmla="*/ 1084427 h 2086627"/>
              <a:gd name="connsiteX38" fmla="*/ 86096 w 1451304"/>
              <a:gd name="connsiteY38" fmla="*/ 1084427 h 2086627"/>
              <a:gd name="connsiteX39" fmla="*/ 86096 w 1451304"/>
              <a:gd name="connsiteY39" fmla="*/ 1103291 h 2086627"/>
              <a:gd name="connsiteX40" fmla="*/ 74004 w 1451304"/>
              <a:gd name="connsiteY40" fmla="*/ 1103291 h 2086627"/>
              <a:gd name="connsiteX41" fmla="*/ 74004 w 1451304"/>
              <a:gd name="connsiteY41" fmla="*/ 1111755 h 2086627"/>
              <a:gd name="connsiteX42" fmla="*/ 90208 w 1451304"/>
              <a:gd name="connsiteY42" fmla="*/ 1127959 h 2086627"/>
              <a:gd name="connsiteX43" fmla="*/ 90208 w 1451304"/>
              <a:gd name="connsiteY43" fmla="*/ 1277418 h 2086627"/>
              <a:gd name="connsiteX44" fmla="*/ 82711 w 1451304"/>
              <a:gd name="connsiteY44" fmla="*/ 1277418 h 2086627"/>
              <a:gd name="connsiteX45" fmla="*/ 82711 w 1451304"/>
              <a:gd name="connsiteY45" fmla="*/ 1300635 h 2086627"/>
              <a:gd name="connsiteX46" fmla="*/ 60703 w 1451304"/>
              <a:gd name="connsiteY46" fmla="*/ 1300635 h 2086627"/>
              <a:gd name="connsiteX47" fmla="*/ 60703 w 1451304"/>
              <a:gd name="connsiteY47" fmla="*/ 1309342 h 2086627"/>
              <a:gd name="connsiteX48" fmla="*/ 75213 w 1451304"/>
              <a:gd name="connsiteY48" fmla="*/ 1329173 h 2086627"/>
              <a:gd name="connsiteX49" fmla="*/ 75213 w 1451304"/>
              <a:gd name="connsiteY49" fmla="*/ 1343200 h 2086627"/>
              <a:gd name="connsiteX50" fmla="*/ 75213 w 1451304"/>
              <a:gd name="connsiteY50" fmla="*/ 1347553 h 2086627"/>
              <a:gd name="connsiteX51" fmla="*/ 75213 w 1451304"/>
              <a:gd name="connsiteY51" fmla="*/ 1372705 h 2086627"/>
              <a:gd name="connsiteX52" fmla="*/ 75213 w 1451304"/>
              <a:gd name="connsiteY52" fmla="*/ 1372705 h 2086627"/>
              <a:gd name="connsiteX53" fmla="*/ 75213 w 1451304"/>
              <a:gd name="connsiteY53" fmla="*/ 1447434 h 2086627"/>
              <a:gd name="connsiteX54" fmla="*/ 75213 w 1451304"/>
              <a:gd name="connsiteY54" fmla="*/ 2074293 h 2086627"/>
              <a:gd name="connsiteX55" fmla="*/ 1364240 w 1451304"/>
              <a:gd name="connsiteY55" fmla="*/ 2086627 h 2086627"/>
              <a:gd name="connsiteX56" fmla="*/ 1364240 w 1451304"/>
              <a:gd name="connsiteY56" fmla="*/ 1385281 h 2086627"/>
              <a:gd name="connsiteX57" fmla="*/ 1364240 w 1451304"/>
              <a:gd name="connsiteY57" fmla="*/ 1385281 h 2086627"/>
              <a:gd name="connsiteX58" fmla="*/ 1364240 w 1451304"/>
              <a:gd name="connsiteY58" fmla="*/ 1360129 h 2086627"/>
              <a:gd name="connsiteX59" fmla="*/ 1364240 w 1451304"/>
              <a:gd name="connsiteY59" fmla="*/ 1355776 h 2086627"/>
              <a:gd name="connsiteX60" fmla="*/ 1364240 w 1451304"/>
              <a:gd name="connsiteY60" fmla="*/ 1341749 h 2086627"/>
              <a:gd name="connsiteX61" fmla="*/ 1390601 w 1451304"/>
              <a:gd name="connsiteY61" fmla="*/ 1321917 h 2086627"/>
              <a:gd name="connsiteX62" fmla="*/ 1390601 w 1451304"/>
              <a:gd name="connsiteY62" fmla="*/ 1300877 h 2086627"/>
              <a:gd name="connsiteX63" fmla="*/ 1368835 w 1451304"/>
              <a:gd name="connsiteY63" fmla="*/ 1300877 h 2086627"/>
              <a:gd name="connsiteX64" fmla="*/ 1368835 w 1451304"/>
              <a:gd name="connsiteY64" fmla="*/ 1277660 h 2086627"/>
              <a:gd name="connsiteX65" fmla="*/ 1361338 w 1451304"/>
              <a:gd name="connsiteY65" fmla="*/ 1277660 h 2086627"/>
              <a:gd name="connsiteX66" fmla="*/ 1361338 w 1451304"/>
              <a:gd name="connsiteY66" fmla="*/ 1128201 h 2086627"/>
              <a:gd name="connsiteX67" fmla="*/ 1377300 w 1451304"/>
              <a:gd name="connsiteY67" fmla="*/ 1111997 h 2086627"/>
              <a:gd name="connsiteX68" fmla="*/ 1377300 w 1451304"/>
              <a:gd name="connsiteY68" fmla="*/ 1103533 h 2086627"/>
              <a:gd name="connsiteX69" fmla="*/ 1365208 w 1451304"/>
              <a:gd name="connsiteY69" fmla="*/ 1103533 h 2086627"/>
              <a:gd name="connsiteX70" fmla="*/ 1365208 w 1451304"/>
              <a:gd name="connsiteY70" fmla="*/ 1084669 h 2086627"/>
              <a:gd name="connsiteX71" fmla="*/ 1361338 w 1451304"/>
              <a:gd name="connsiteY71" fmla="*/ 1084669 h 2086627"/>
              <a:gd name="connsiteX72" fmla="*/ 1361338 w 1451304"/>
              <a:gd name="connsiteY72" fmla="*/ 788652 h 2086627"/>
              <a:gd name="connsiteX73" fmla="*/ 1375849 w 1451304"/>
              <a:gd name="connsiteY73" fmla="*/ 788652 h 2086627"/>
              <a:gd name="connsiteX74" fmla="*/ 1375849 w 1451304"/>
              <a:gd name="connsiteY74" fmla="*/ 765193 h 2086627"/>
              <a:gd name="connsiteX75" fmla="*/ 1435100 w 1451304"/>
              <a:gd name="connsiteY75" fmla="*/ 669423 h 2086627"/>
              <a:gd name="connsiteX76" fmla="*/ 1435100 w 1451304"/>
              <a:gd name="connsiteY76" fmla="*/ 657331 h 2086627"/>
              <a:gd name="connsiteX77" fmla="*/ 1451304 w 1451304"/>
              <a:gd name="connsiteY77" fmla="*/ 637016 h 2086627"/>
              <a:gd name="connsiteX78" fmla="*/ 1451304 w 1451304"/>
              <a:gd name="connsiteY78" fmla="*/ 626617 h 2086627"/>
              <a:gd name="connsiteX79" fmla="*/ 1366659 w 1451304"/>
              <a:gd name="connsiteY79" fmla="*/ 626617 h 2086627"/>
              <a:gd name="connsiteX80" fmla="*/ 1366659 w 1451304"/>
              <a:gd name="connsiteY80" fmla="*/ 499165 h 2086627"/>
              <a:gd name="connsiteX81" fmla="*/ 948511 w 1451304"/>
              <a:gd name="connsiteY81" fmla="*/ 1825920 h 2086627"/>
              <a:gd name="connsiteX82" fmla="*/ 503035 w 1451304"/>
              <a:gd name="connsiteY82" fmla="*/ 1825920 h 2086627"/>
              <a:gd name="connsiteX83" fmla="*/ 503035 w 1451304"/>
              <a:gd name="connsiteY83" fmla="*/ 1186243 h 2086627"/>
              <a:gd name="connsiteX84" fmla="*/ 536409 w 1451304"/>
              <a:gd name="connsiteY84" fmla="*/ 1150450 h 2086627"/>
              <a:gd name="connsiteX85" fmla="*/ 515852 w 1451304"/>
              <a:gd name="connsiteY85" fmla="*/ 1098454 h 2086627"/>
              <a:gd name="connsiteX86" fmla="*/ 725773 w 1451304"/>
              <a:gd name="connsiteY86" fmla="*/ 938354 h 2086627"/>
              <a:gd name="connsiteX87" fmla="*/ 935451 w 1451304"/>
              <a:gd name="connsiteY87" fmla="*/ 1098454 h 2086627"/>
              <a:gd name="connsiteX88" fmla="*/ 915136 w 1451304"/>
              <a:gd name="connsiteY88" fmla="*/ 1150450 h 2086627"/>
              <a:gd name="connsiteX89" fmla="*/ 948269 w 1451304"/>
              <a:gd name="connsiteY89" fmla="*/ 1186243 h 2086627"/>
              <a:gd name="connsiteX90" fmla="*/ 948269 w 1451304"/>
              <a:gd name="connsiteY90" fmla="*/ 1825920 h 2086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451304" h="2086627">
                <a:moveTo>
                  <a:pt x="1366900" y="499165"/>
                </a:moveTo>
                <a:cubicBezTo>
                  <a:pt x="1366900" y="499165"/>
                  <a:pt x="1344651" y="506179"/>
                  <a:pt x="1344651" y="499165"/>
                </a:cubicBezTo>
                <a:cubicBezTo>
                  <a:pt x="1344651" y="492152"/>
                  <a:pt x="1344651" y="392996"/>
                  <a:pt x="1344651" y="392996"/>
                </a:cubicBezTo>
                <a:lnTo>
                  <a:pt x="1229533" y="392996"/>
                </a:lnTo>
                <a:lnTo>
                  <a:pt x="1229533" y="244262"/>
                </a:lnTo>
                <a:lnTo>
                  <a:pt x="1220102" y="244262"/>
                </a:lnTo>
                <a:lnTo>
                  <a:pt x="1220102" y="137125"/>
                </a:lnTo>
                <a:lnTo>
                  <a:pt x="1209944" y="137125"/>
                </a:lnTo>
                <a:lnTo>
                  <a:pt x="1209944" y="148250"/>
                </a:lnTo>
                <a:lnTo>
                  <a:pt x="991801" y="148250"/>
                </a:lnTo>
                <a:lnTo>
                  <a:pt x="991801" y="104476"/>
                </a:lnTo>
                <a:lnTo>
                  <a:pt x="918280" y="104476"/>
                </a:lnTo>
                <a:lnTo>
                  <a:pt x="809451" y="49578"/>
                </a:lnTo>
                <a:lnTo>
                  <a:pt x="803163" y="24184"/>
                </a:lnTo>
                <a:cubicBezTo>
                  <a:pt x="803163" y="24184"/>
                  <a:pt x="774142" y="0"/>
                  <a:pt x="725773" y="0"/>
                </a:cubicBezTo>
                <a:cubicBezTo>
                  <a:pt x="677162" y="0"/>
                  <a:pt x="648141" y="24184"/>
                  <a:pt x="648141" y="24184"/>
                </a:cubicBezTo>
                <a:lnTo>
                  <a:pt x="642095" y="49578"/>
                </a:lnTo>
                <a:lnTo>
                  <a:pt x="533024" y="104476"/>
                </a:lnTo>
                <a:lnTo>
                  <a:pt x="459503" y="104476"/>
                </a:lnTo>
                <a:lnTo>
                  <a:pt x="459503" y="148250"/>
                </a:lnTo>
                <a:lnTo>
                  <a:pt x="241360" y="148250"/>
                </a:lnTo>
                <a:lnTo>
                  <a:pt x="241360" y="137125"/>
                </a:lnTo>
                <a:lnTo>
                  <a:pt x="231202" y="137125"/>
                </a:lnTo>
                <a:lnTo>
                  <a:pt x="231202" y="244262"/>
                </a:lnTo>
                <a:lnTo>
                  <a:pt x="222254" y="244262"/>
                </a:lnTo>
                <a:lnTo>
                  <a:pt x="222254" y="392996"/>
                </a:lnTo>
                <a:lnTo>
                  <a:pt x="107137" y="392996"/>
                </a:lnTo>
                <a:cubicBezTo>
                  <a:pt x="107137" y="392996"/>
                  <a:pt x="107137" y="491910"/>
                  <a:pt x="107137" y="499165"/>
                </a:cubicBezTo>
                <a:cubicBezTo>
                  <a:pt x="107137" y="506421"/>
                  <a:pt x="84645" y="499165"/>
                  <a:pt x="84645" y="499165"/>
                </a:cubicBezTo>
                <a:lnTo>
                  <a:pt x="84645" y="626375"/>
                </a:lnTo>
                <a:lnTo>
                  <a:pt x="0" y="626375"/>
                </a:lnTo>
                <a:lnTo>
                  <a:pt x="0" y="636774"/>
                </a:lnTo>
                <a:lnTo>
                  <a:pt x="16445" y="657089"/>
                </a:lnTo>
                <a:lnTo>
                  <a:pt x="16445" y="669181"/>
                </a:lnTo>
                <a:lnTo>
                  <a:pt x="75455" y="764951"/>
                </a:lnTo>
                <a:lnTo>
                  <a:pt x="75455" y="788410"/>
                </a:lnTo>
                <a:lnTo>
                  <a:pt x="90208" y="788410"/>
                </a:lnTo>
                <a:lnTo>
                  <a:pt x="90208" y="1084427"/>
                </a:lnTo>
                <a:lnTo>
                  <a:pt x="86096" y="1084427"/>
                </a:lnTo>
                <a:lnTo>
                  <a:pt x="86096" y="1103291"/>
                </a:lnTo>
                <a:lnTo>
                  <a:pt x="74004" y="1103291"/>
                </a:lnTo>
                <a:lnTo>
                  <a:pt x="74004" y="1111755"/>
                </a:lnTo>
                <a:lnTo>
                  <a:pt x="90208" y="1127959"/>
                </a:lnTo>
                <a:lnTo>
                  <a:pt x="90208" y="1277418"/>
                </a:lnTo>
                <a:lnTo>
                  <a:pt x="82711" y="1277418"/>
                </a:lnTo>
                <a:lnTo>
                  <a:pt x="82711" y="1300635"/>
                </a:lnTo>
                <a:lnTo>
                  <a:pt x="60703" y="1300635"/>
                </a:lnTo>
                <a:lnTo>
                  <a:pt x="60703" y="1309342"/>
                </a:lnTo>
                <a:lnTo>
                  <a:pt x="75213" y="1329173"/>
                </a:lnTo>
                <a:lnTo>
                  <a:pt x="75213" y="1343200"/>
                </a:lnTo>
                <a:lnTo>
                  <a:pt x="75213" y="1347553"/>
                </a:lnTo>
                <a:lnTo>
                  <a:pt x="75213" y="1372705"/>
                </a:lnTo>
                <a:lnTo>
                  <a:pt x="75213" y="1372705"/>
                </a:lnTo>
                <a:lnTo>
                  <a:pt x="75213" y="1447434"/>
                </a:lnTo>
                <a:lnTo>
                  <a:pt x="75213" y="2074293"/>
                </a:lnTo>
                <a:lnTo>
                  <a:pt x="1364240" y="2086627"/>
                </a:lnTo>
                <a:lnTo>
                  <a:pt x="1364240" y="1385281"/>
                </a:lnTo>
                <a:lnTo>
                  <a:pt x="1364240" y="1385281"/>
                </a:lnTo>
                <a:lnTo>
                  <a:pt x="1364240" y="1360129"/>
                </a:lnTo>
                <a:lnTo>
                  <a:pt x="1364240" y="1355776"/>
                </a:lnTo>
                <a:lnTo>
                  <a:pt x="1364240" y="1341749"/>
                </a:lnTo>
                <a:lnTo>
                  <a:pt x="1390601" y="1321917"/>
                </a:lnTo>
                <a:lnTo>
                  <a:pt x="1390601" y="1300877"/>
                </a:lnTo>
                <a:lnTo>
                  <a:pt x="1368835" y="1300877"/>
                </a:lnTo>
                <a:lnTo>
                  <a:pt x="1368835" y="1277660"/>
                </a:lnTo>
                <a:lnTo>
                  <a:pt x="1361338" y="1277660"/>
                </a:lnTo>
                <a:lnTo>
                  <a:pt x="1361338" y="1128201"/>
                </a:lnTo>
                <a:lnTo>
                  <a:pt x="1377300" y="1111997"/>
                </a:lnTo>
                <a:lnTo>
                  <a:pt x="1377300" y="1103533"/>
                </a:lnTo>
                <a:lnTo>
                  <a:pt x="1365208" y="1103533"/>
                </a:lnTo>
                <a:lnTo>
                  <a:pt x="1365208" y="1084669"/>
                </a:lnTo>
                <a:lnTo>
                  <a:pt x="1361338" y="1084669"/>
                </a:lnTo>
                <a:lnTo>
                  <a:pt x="1361338" y="788652"/>
                </a:lnTo>
                <a:lnTo>
                  <a:pt x="1375849" y="788652"/>
                </a:lnTo>
                <a:lnTo>
                  <a:pt x="1375849" y="765193"/>
                </a:lnTo>
                <a:lnTo>
                  <a:pt x="1435100" y="669423"/>
                </a:lnTo>
                <a:lnTo>
                  <a:pt x="1435100" y="657331"/>
                </a:lnTo>
                <a:lnTo>
                  <a:pt x="1451304" y="637016"/>
                </a:lnTo>
                <a:lnTo>
                  <a:pt x="1451304" y="626617"/>
                </a:lnTo>
                <a:lnTo>
                  <a:pt x="1366659" y="626617"/>
                </a:lnTo>
                <a:lnTo>
                  <a:pt x="1366659" y="499165"/>
                </a:lnTo>
                <a:close/>
                <a:moveTo>
                  <a:pt x="948511" y="1825920"/>
                </a:moveTo>
                <a:lnTo>
                  <a:pt x="503035" y="1825920"/>
                </a:lnTo>
                <a:lnTo>
                  <a:pt x="503035" y="1186243"/>
                </a:lnTo>
                <a:lnTo>
                  <a:pt x="536409" y="1150450"/>
                </a:lnTo>
                <a:lnTo>
                  <a:pt x="515852" y="1098454"/>
                </a:lnTo>
                <a:cubicBezTo>
                  <a:pt x="515852" y="1098454"/>
                  <a:pt x="522624" y="938354"/>
                  <a:pt x="725773" y="938354"/>
                </a:cubicBezTo>
                <a:cubicBezTo>
                  <a:pt x="928922" y="938354"/>
                  <a:pt x="935451" y="1098454"/>
                  <a:pt x="935451" y="1098454"/>
                </a:cubicBezTo>
                <a:lnTo>
                  <a:pt x="915136" y="1150450"/>
                </a:lnTo>
                <a:lnTo>
                  <a:pt x="948269" y="1186243"/>
                </a:lnTo>
                <a:lnTo>
                  <a:pt x="948269" y="182592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2417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339FE3E-71F1-EF74-E677-4075AE60BB03}"/>
              </a:ext>
            </a:extLst>
          </p:cNvPr>
          <p:cNvSpPr/>
          <p:nvPr/>
        </p:nvSpPr>
        <p:spPr>
          <a:xfrm>
            <a:off x="9502939" y="5424406"/>
            <a:ext cx="2670921" cy="1507169"/>
          </a:xfrm>
          <a:custGeom>
            <a:avLst/>
            <a:gdLst>
              <a:gd name="connsiteX0" fmla="*/ 13060 w 2670921"/>
              <a:gd name="connsiteY0" fmla="*/ 1351423 h 1507169"/>
              <a:gd name="connsiteX1" fmla="*/ 13060 w 2670921"/>
              <a:gd name="connsiteY1" fmla="*/ 1507170 h 1507169"/>
              <a:gd name="connsiteX2" fmla="*/ 2670922 w 2670921"/>
              <a:gd name="connsiteY2" fmla="*/ 1507170 h 1507169"/>
              <a:gd name="connsiteX3" fmla="*/ 2670922 w 2670921"/>
              <a:gd name="connsiteY3" fmla="*/ 1330866 h 1507169"/>
              <a:gd name="connsiteX4" fmla="*/ 2623278 w 2670921"/>
              <a:gd name="connsiteY4" fmla="*/ 1330866 h 1507169"/>
              <a:gd name="connsiteX5" fmla="*/ 2670922 w 2670921"/>
              <a:gd name="connsiteY5" fmla="*/ 1094343 h 1507169"/>
              <a:gd name="connsiteX6" fmla="*/ 2670922 w 2670921"/>
              <a:gd name="connsiteY6" fmla="*/ 1071851 h 1507169"/>
              <a:gd name="connsiteX7" fmla="*/ 2494376 w 2670921"/>
              <a:gd name="connsiteY7" fmla="*/ 1105226 h 1507169"/>
              <a:gd name="connsiteX8" fmla="*/ 2301627 w 2670921"/>
              <a:gd name="connsiteY8" fmla="*/ 730126 h 1507169"/>
              <a:gd name="connsiteX9" fmla="*/ 2002465 w 2670921"/>
              <a:gd name="connsiteY9" fmla="*/ 486589 h 1507169"/>
              <a:gd name="connsiteX10" fmla="*/ 2065587 w 2670921"/>
              <a:gd name="connsiteY10" fmla="*/ 722871 h 1507169"/>
              <a:gd name="connsiteX11" fmla="*/ 1824227 w 2670921"/>
              <a:gd name="connsiteY11" fmla="*/ 419115 h 1507169"/>
              <a:gd name="connsiteX12" fmla="*/ 1654453 w 2670921"/>
              <a:gd name="connsiteY12" fmla="*/ 185978 h 1507169"/>
              <a:gd name="connsiteX13" fmla="*/ 1409948 w 2670921"/>
              <a:gd name="connsiteY13" fmla="*/ 3628 h 1507169"/>
              <a:gd name="connsiteX14" fmla="*/ 1432924 w 2670921"/>
              <a:gd name="connsiteY14" fmla="*/ 162519 h 1507169"/>
              <a:gd name="connsiteX15" fmla="*/ 1345860 w 2670921"/>
              <a:gd name="connsiteY15" fmla="*/ 29263 h 1507169"/>
              <a:gd name="connsiteX16" fmla="*/ 1345860 w 2670921"/>
              <a:gd name="connsiteY16" fmla="*/ 3628 h 1507169"/>
              <a:gd name="connsiteX17" fmla="*/ 1345134 w 2670921"/>
              <a:gd name="connsiteY17" fmla="*/ 4595 h 1507169"/>
              <a:gd name="connsiteX18" fmla="*/ 1342716 w 2670921"/>
              <a:gd name="connsiteY18" fmla="*/ 0 h 1507169"/>
              <a:gd name="connsiteX19" fmla="*/ 1342716 w 2670921"/>
              <a:gd name="connsiteY19" fmla="*/ 8948 h 1507169"/>
              <a:gd name="connsiteX20" fmla="*/ 1337637 w 2670921"/>
              <a:gd name="connsiteY20" fmla="*/ 16687 h 1507169"/>
              <a:gd name="connsiteX21" fmla="*/ 1332801 w 2670921"/>
              <a:gd name="connsiteY21" fmla="*/ 8948 h 1507169"/>
              <a:gd name="connsiteX22" fmla="*/ 1332801 w 2670921"/>
              <a:gd name="connsiteY22" fmla="*/ 0 h 1507169"/>
              <a:gd name="connsiteX23" fmla="*/ 1329657 w 2670921"/>
              <a:gd name="connsiteY23" fmla="*/ 4595 h 1507169"/>
              <a:gd name="connsiteX24" fmla="*/ 1329173 w 2670921"/>
              <a:gd name="connsiteY24" fmla="*/ 3628 h 1507169"/>
              <a:gd name="connsiteX25" fmla="*/ 1329173 w 2670921"/>
              <a:gd name="connsiteY25" fmla="*/ 29263 h 1507169"/>
              <a:gd name="connsiteX26" fmla="*/ 1241867 w 2670921"/>
              <a:gd name="connsiteY26" fmla="*/ 162519 h 1507169"/>
              <a:gd name="connsiteX27" fmla="*/ 1265084 w 2670921"/>
              <a:gd name="connsiteY27" fmla="*/ 3628 h 1507169"/>
              <a:gd name="connsiteX28" fmla="*/ 1020581 w 2670921"/>
              <a:gd name="connsiteY28" fmla="*/ 185978 h 1507169"/>
              <a:gd name="connsiteX29" fmla="*/ 851048 w 2670921"/>
              <a:gd name="connsiteY29" fmla="*/ 419115 h 1507169"/>
              <a:gd name="connsiteX30" fmla="*/ 609204 w 2670921"/>
              <a:gd name="connsiteY30" fmla="*/ 722871 h 1507169"/>
              <a:gd name="connsiteX31" fmla="*/ 672567 w 2670921"/>
              <a:gd name="connsiteY31" fmla="*/ 486589 h 1507169"/>
              <a:gd name="connsiteX32" fmla="*/ 373407 w 2670921"/>
              <a:gd name="connsiteY32" fmla="*/ 730126 h 1507169"/>
              <a:gd name="connsiteX33" fmla="*/ 180899 w 2670921"/>
              <a:gd name="connsiteY33" fmla="*/ 1105226 h 1507169"/>
              <a:gd name="connsiteX34" fmla="*/ 0 w 2670921"/>
              <a:gd name="connsiteY34" fmla="*/ 1070884 h 1507169"/>
              <a:gd name="connsiteX35" fmla="*/ 56350 w 2670921"/>
              <a:gd name="connsiteY35" fmla="*/ 1351423 h 1507169"/>
              <a:gd name="connsiteX36" fmla="*/ 13060 w 2670921"/>
              <a:gd name="connsiteY36" fmla="*/ 1351423 h 1507169"/>
              <a:gd name="connsiteX37" fmla="*/ 2525332 w 2670921"/>
              <a:gd name="connsiteY37" fmla="*/ 1175360 h 1507169"/>
              <a:gd name="connsiteX38" fmla="*/ 2637547 w 2670921"/>
              <a:gd name="connsiteY38" fmla="*/ 1102324 h 1507169"/>
              <a:gd name="connsiteX39" fmla="*/ 2592564 w 2670921"/>
              <a:gd name="connsiteY39" fmla="*/ 1306198 h 1507169"/>
              <a:gd name="connsiteX40" fmla="*/ 2409489 w 2670921"/>
              <a:gd name="connsiteY40" fmla="*/ 1306198 h 1507169"/>
              <a:gd name="connsiteX41" fmla="*/ 2525332 w 2670921"/>
              <a:gd name="connsiteY41" fmla="*/ 1175360 h 1507169"/>
              <a:gd name="connsiteX42" fmla="*/ 2335000 w 2670921"/>
              <a:gd name="connsiteY42" fmla="*/ 1109579 h 1507169"/>
              <a:gd name="connsiteX43" fmla="*/ 2461243 w 2670921"/>
              <a:gd name="connsiteY43" fmla="*/ 1065563 h 1507169"/>
              <a:gd name="connsiteX44" fmla="*/ 2473577 w 2670921"/>
              <a:gd name="connsiteY44" fmla="*/ 1108128 h 1507169"/>
              <a:gd name="connsiteX45" fmla="*/ 2351688 w 2670921"/>
              <a:gd name="connsiteY45" fmla="*/ 1152385 h 1507169"/>
              <a:gd name="connsiteX46" fmla="*/ 2221576 w 2670921"/>
              <a:gd name="connsiteY46" fmla="*/ 1229775 h 1507169"/>
              <a:gd name="connsiteX47" fmla="*/ 2203196 w 2670921"/>
              <a:gd name="connsiteY47" fmla="*/ 1190596 h 1507169"/>
              <a:gd name="connsiteX48" fmla="*/ 2335000 w 2670921"/>
              <a:gd name="connsiteY48" fmla="*/ 1109579 h 1507169"/>
              <a:gd name="connsiteX49" fmla="*/ 214515 w 2670921"/>
              <a:gd name="connsiteY49" fmla="*/ 1065563 h 1507169"/>
              <a:gd name="connsiteX50" fmla="*/ 340758 w 2670921"/>
              <a:gd name="connsiteY50" fmla="*/ 1109579 h 1507169"/>
              <a:gd name="connsiteX51" fmla="*/ 473046 w 2670921"/>
              <a:gd name="connsiteY51" fmla="*/ 1190838 h 1507169"/>
              <a:gd name="connsiteX52" fmla="*/ 454908 w 2670921"/>
              <a:gd name="connsiteY52" fmla="*/ 1230017 h 1507169"/>
              <a:gd name="connsiteX53" fmla="*/ 324312 w 2670921"/>
              <a:gd name="connsiteY53" fmla="*/ 1152627 h 1507169"/>
              <a:gd name="connsiteX54" fmla="*/ 202665 w 2670921"/>
              <a:gd name="connsiteY54" fmla="*/ 1108370 h 1507169"/>
              <a:gd name="connsiteX55" fmla="*/ 214515 w 2670921"/>
              <a:gd name="connsiteY55" fmla="*/ 1065563 h 1507169"/>
              <a:gd name="connsiteX56" fmla="*/ 38212 w 2670921"/>
              <a:gd name="connsiteY56" fmla="*/ 1102324 h 1507169"/>
              <a:gd name="connsiteX57" fmla="*/ 150427 w 2670921"/>
              <a:gd name="connsiteY57" fmla="*/ 1175360 h 1507169"/>
              <a:gd name="connsiteX58" fmla="*/ 266270 w 2670921"/>
              <a:gd name="connsiteY58" fmla="*/ 1306198 h 1507169"/>
              <a:gd name="connsiteX59" fmla="*/ 83436 w 2670921"/>
              <a:gd name="connsiteY59" fmla="*/ 1306198 h 1507169"/>
              <a:gd name="connsiteX60" fmla="*/ 38212 w 2670921"/>
              <a:gd name="connsiteY60" fmla="*/ 1102324 h 1507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2670921" h="1507169">
                <a:moveTo>
                  <a:pt x="13060" y="1351423"/>
                </a:moveTo>
                <a:lnTo>
                  <a:pt x="13060" y="1507170"/>
                </a:lnTo>
                <a:lnTo>
                  <a:pt x="2670922" y="1507170"/>
                </a:lnTo>
                <a:lnTo>
                  <a:pt x="2670922" y="1330866"/>
                </a:lnTo>
                <a:lnTo>
                  <a:pt x="2623278" y="1330866"/>
                </a:lnTo>
                <a:lnTo>
                  <a:pt x="2670922" y="1094343"/>
                </a:lnTo>
                <a:lnTo>
                  <a:pt x="2670922" y="1071851"/>
                </a:lnTo>
                <a:lnTo>
                  <a:pt x="2494376" y="1105226"/>
                </a:lnTo>
                <a:cubicBezTo>
                  <a:pt x="2494376" y="1105226"/>
                  <a:pt x="2442379" y="905704"/>
                  <a:pt x="2301627" y="730126"/>
                </a:cubicBezTo>
                <a:cubicBezTo>
                  <a:pt x="2160631" y="554064"/>
                  <a:pt x="2002465" y="486589"/>
                  <a:pt x="2002465" y="486589"/>
                </a:cubicBezTo>
                <a:lnTo>
                  <a:pt x="2065587" y="722871"/>
                </a:lnTo>
                <a:cubicBezTo>
                  <a:pt x="2065587" y="722871"/>
                  <a:pt x="1962320" y="500375"/>
                  <a:pt x="1824227" y="419115"/>
                </a:cubicBezTo>
                <a:cubicBezTo>
                  <a:pt x="1824227" y="419115"/>
                  <a:pt x="1746353" y="287310"/>
                  <a:pt x="1654453" y="185978"/>
                </a:cubicBezTo>
                <a:cubicBezTo>
                  <a:pt x="1562310" y="84403"/>
                  <a:pt x="1409948" y="3628"/>
                  <a:pt x="1409948" y="3628"/>
                </a:cubicBezTo>
                <a:lnTo>
                  <a:pt x="1432924" y="162519"/>
                </a:lnTo>
                <a:lnTo>
                  <a:pt x="1345860" y="29263"/>
                </a:lnTo>
                <a:lnTo>
                  <a:pt x="1345860" y="3628"/>
                </a:lnTo>
                <a:lnTo>
                  <a:pt x="1345134" y="4595"/>
                </a:lnTo>
                <a:lnTo>
                  <a:pt x="1342716" y="0"/>
                </a:lnTo>
                <a:lnTo>
                  <a:pt x="1342716" y="8948"/>
                </a:lnTo>
                <a:lnTo>
                  <a:pt x="1337637" y="16687"/>
                </a:lnTo>
                <a:lnTo>
                  <a:pt x="1332801" y="8948"/>
                </a:lnTo>
                <a:lnTo>
                  <a:pt x="1332801" y="0"/>
                </a:lnTo>
                <a:lnTo>
                  <a:pt x="1329657" y="4595"/>
                </a:lnTo>
                <a:lnTo>
                  <a:pt x="1329173" y="3628"/>
                </a:lnTo>
                <a:lnTo>
                  <a:pt x="1329173" y="29263"/>
                </a:lnTo>
                <a:lnTo>
                  <a:pt x="1241867" y="162519"/>
                </a:lnTo>
                <a:lnTo>
                  <a:pt x="1265084" y="3628"/>
                </a:lnTo>
                <a:cubicBezTo>
                  <a:pt x="1265084" y="3628"/>
                  <a:pt x="1112723" y="84645"/>
                  <a:pt x="1020581" y="185978"/>
                </a:cubicBezTo>
                <a:cubicBezTo>
                  <a:pt x="928680" y="287310"/>
                  <a:pt x="851048" y="419115"/>
                  <a:pt x="851048" y="419115"/>
                </a:cubicBezTo>
                <a:cubicBezTo>
                  <a:pt x="712955" y="500375"/>
                  <a:pt x="609204" y="722871"/>
                  <a:pt x="609204" y="722871"/>
                </a:cubicBezTo>
                <a:lnTo>
                  <a:pt x="672567" y="486589"/>
                </a:lnTo>
                <a:cubicBezTo>
                  <a:pt x="672567" y="486589"/>
                  <a:pt x="514643" y="554064"/>
                  <a:pt x="373407" y="730126"/>
                </a:cubicBezTo>
                <a:cubicBezTo>
                  <a:pt x="232653" y="905704"/>
                  <a:pt x="180899" y="1105226"/>
                  <a:pt x="180899" y="1105226"/>
                </a:cubicBezTo>
                <a:lnTo>
                  <a:pt x="0" y="1070884"/>
                </a:lnTo>
                <a:lnTo>
                  <a:pt x="56350" y="1351423"/>
                </a:lnTo>
                <a:lnTo>
                  <a:pt x="13060" y="1351423"/>
                </a:lnTo>
                <a:close/>
                <a:moveTo>
                  <a:pt x="2525332" y="1175360"/>
                </a:moveTo>
                <a:cubicBezTo>
                  <a:pt x="2570798" y="1130135"/>
                  <a:pt x="2637547" y="1102324"/>
                  <a:pt x="2637547" y="1102324"/>
                </a:cubicBezTo>
                <a:lnTo>
                  <a:pt x="2592564" y="1306198"/>
                </a:lnTo>
                <a:lnTo>
                  <a:pt x="2409489" y="1306198"/>
                </a:lnTo>
                <a:cubicBezTo>
                  <a:pt x="2437784" y="1272581"/>
                  <a:pt x="2492683" y="1208735"/>
                  <a:pt x="2525332" y="1175360"/>
                </a:cubicBezTo>
                <a:close/>
                <a:moveTo>
                  <a:pt x="2335000" y="1109579"/>
                </a:moveTo>
                <a:cubicBezTo>
                  <a:pt x="2396429" y="1080316"/>
                  <a:pt x="2461243" y="1065563"/>
                  <a:pt x="2461243" y="1065563"/>
                </a:cubicBezTo>
                <a:lnTo>
                  <a:pt x="2473577" y="1108128"/>
                </a:lnTo>
                <a:cubicBezTo>
                  <a:pt x="2473577" y="1108128"/>
                  <a:pt x="2414326" y="1122155"/>
                  <a:pt x="2351688" y="1152385"/>
                </a:cubicBezTo>
                <a:cubicBezTo>
                  <a:pt x="2289534" y="1182858"/>
                  <a:pt x="2221576" y="1229775"/>
                  <a:pt x="2221576" y="1229775"/>
                </a:cubicBezTo>
                <a:lnTo>
                  <a:pt x="2203196" y="1190596"/>
                </a:lnTo>
                <a:cubicBezTo>
                  <a:pt x="2202954" y="1190838"/>
                  <a:pt x="2273814" y="1138358"/>
                  <a:pt x="2335000" y="1109579"/>
                </a:cubicBezTo>
                <a:close/>
                <a:moveTo>
                  <a:pt x="214515" y="1065563"/>
                </a:moveTo>
                <a:cubicBezTo>
                  <a:pt x="214515" y="1065563"/>
                  <a:pt x="279088" y="1080316"/>
                  <a:pt x="340758" y="1109579"/>
                </a:cubicBezTo>
                <a:cubicBezTo>
                  <a:pt x="402186" y="1138600"/>
                  <a:pt x="473046" y="1190838"/>
                  <a:pt x="473046" y="1190838"/>
                </a:cubicBezTo>
                <a:lnTo>
                  <a:pt x="454908" y="1230017"/>
                </a:lnTo>
                <a:cubicBezTo>
                  <a:pt x="454908" y="1230017"/>
                  <a:pt x="386950" y="1183099"/>
                  <a:pt x="324312" y="1152627"/>
                </a:cubicBezTo>
                <a:cubicBezTo>
                  <a:pt x="261917" y="1122397"/>
                  <a:pt x="202665" y="1108370"/>
                  <a:pt x="202665" y="1108370"/>
                </a:cubicBezTo>
                <a:lnTo>
                  <a:pt x="214515" y="1065563"/>
                </a:lnTo>
                <a:close/>
                <a:moveTo>
                  <a:pt x="38212" y="1102324"/>
                </a:moveTo>
                <a:cubicBezTo>
                  <a:pt x="38212" y="1102324"/>
                  <a:pt x="104960" y="1130135"/>
                  <a:pt x="150427" y="1175360"/>
                </a:cubicBezTo>
                <a:cubicBezTo>
                  <a:pt x="183076" y="1208493"/>
                  <a:pt x="237974" y="1272581"/>
                  <a:pt x="266270" y="1306198"/>
                </a:cubicBezTo>
                <a:lnTo>
                  <a:pt x="83436" y="1306198"/>
                </a:lnTo>
                <a:lnTo>
                  <a:pt x="38212" y="1102324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2417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728706F2-D0A5-4233-CC6F-2AD7C43E4C4D}"/>
              </a:ext>
            </a:extLst>
          </p:cNvPr>
          <p:cNvSpPr/>
          <p:nvPr/>
        </p:nvSpPr>
        <p:spPr>
          <a:xfrm>
            <a:off x="8777650" y="6556718"/>
            <a:ext cx="36034" cy="28296"/>
          </a:xfrm>
          <a:custGeom>
            <a:avLst/>
            <a:gdLst>
              <a:gd name="connsiteX0" fmla="*/ 0 w 36034"/>
              <a:gd name="connsiteY0" fmla="*/ 0 h 28296"/>
              <a:gd name="connsiteX1" fmla="*/ 7497 w 36034"/>
              <a:gd name="connsiteY1" fmla="*/ 8706 h 28296"/>
              <a:gd name="connsiteX2" fmla="*/ 14269 w 36034"/>
              <a:gd name="connsiteY2" fmla="*/ 18138 h 28296"/>
              <a:gd name="connsiteX3" fmla="*/ 18138 w 36034"/>
              <a:gd name="connsiteY3" fmla="*/ 20073 h 28296"/>
              <a:gd name="connsiteX4" fmla="*/ 26361 w 36034"/>
              <a:gd name="connsiteY4" fmla="*/ 21282 h 28296"/>
              <a:gd name="connsiteX5" fmla="*/ 23700 w 36034"/>
              <a:gd name="connsiteY5" fmla="*/ 22975 h 28296"/>
              <a:gd name="connsiteX6" fmla="*/ 34100 w 36034"/>
              <a:gd name="connsiteY6" fmla="*/ 28296 h 28296"/>
              <a:gd name="connsiteX7" fmla="*/ 36034 w 36034"/>
              <a:gd name="connsiteY7" fmla="*/ 28296 h 28296"/>
              <a:gd name="connsiteX8" fmla="*/ 26361 w 36034"/>
              <a:gd name="connsiteY8" fmla="*/ 20799 h 28296"/>
              <a:gd name="connsiteX9" fmla="*/ 0 w 36034"/>
              <a:gd name="connsiteY9" fmla="*/ 0 h 28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034" h="28296">
                <a:moveTo>
                  <a:pt x="0" y="0"/>
                </a:moveTo>
                <a:cubicBezTo>
                  <a:pt x="2660" y="2902"/>
                  <a:pt x="5321" y="5804"/>
                  <a:pt x="7497" y="8706"/>
                </a:cubicBezTo>
                <a:cubicBezTo>
                  <a:pt x="10157" y="11850"/>
                  <a:pt x="12576" y="15236"/>
                  <a:pt x="14269" y="18138"/>
                </a:cubicBezTo>
                <a:cubicBezTo>
                  <a:pt x="15720" y="18864"/>
                  <a:pt x="16929" y="19590"/>
                  <a:pt x="18138" y="20073"/>
                </a:cubicBezTo>
                <a:cubicBezTo>
                  <a:pt x="23217" y="20557"/>
                  <a:pt x="26361" y="21282"/>
                  <a:pt x="26361" y="21282"/>
                </a:cubicBezTo>
                <a:cubicBezTo>
                  <a:pt x="26361" y="21282"/>
                  <a:pt x="25393" y="22008"/>
                  <a:pt x="23700" y="22975"/>
                </a:cubicBezTo>
                <a:cubicBezTo>
                  <a:pt x="27086" y="24668"/>
                  <a:pt x="30714" y="26603"/>
                  <a:pt x="34100" y="28296"/>
                </a:cubicBezTo>
                <a:cubicBezTo>
                  <a:pt x="34826" y="28296"/>
                  <a:pt x="35551" y="28296"/>
                  <a:pt x="36034" y="28296"/>
                </a:cubicBezTo>
                <a:cubicBezTo>
                  <a:pt x="32890" y="25877"/>
                  <a:pt x="29505" y="23217"/>
                  <a:pt x="26361" y="20799"/>
                </a:cubicBezTo>
                <a:cubicBezTo>
                  <a:pt x="17654" y="13785"/>
                  <a:pt x="8706" y="6772"/>
                  <a:pt x="0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 w="2417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68388A14-AC35-F005-6D38-517E63DAE2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8110" y="11709846"/>
            <a:ext cx="2848909" cy="31411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DAE3829-698A-A382-3615-97DA870988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4538" y="10751766"/>
            <a:ext cx="3714750" cy="409575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908DA740-7594-2C7B-0AC5-2585D25257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36013" y="10164334"/>
            <a:ext cx="2848909" cy="314110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2E67372D-2858-7D57-1F0B-388ED0FADC91}"/>
              </a:ext>
            </a:extLst>
          </p:cNvPr>
          <p:cNvSpPr/>
          <p:nvPr/>
        </p:nvSpPr>
        <p:spPr>
          <a:xfrm>
            <a:off x="2234447" y="10932052"/>
            <a:ext cx="8952999" cy="2270190"/>
          </a:xfrm>
          <a:custGeom>
            <a:avLst/>
            <a:gdLst>
              <a:gd name="connsiteX0" fmla="*/ 4493976 w 8952999"/>
              <a:gd name="connsiteY0" fmla="*/ 0 h 2270190"/>
              <a:gd name="connsiteX1" fmla="*/ 4881940 w 8952999"/>
              <a:gd name="connsiteY1" fmla="*/ 158928 h 2270190"/>
              <a:gd name="connsiteX2" fmla="*/ 5870253 w 8952999"/>
              <a:gd name="connsiteY2" fmla="*/ 758659 h 2270190"/>
              <a:gd name="connsiteX3" fmla="*/ 7245708 w 8952999"/>
              <a:gd name="connsiteY3" fmla="*/ 800601 h 2270190"/>
              <a:gd name="connsiteX4" fmla="*/ 8952999 w 8952999"/>
              <a:gd name="connsiteY4" fmla="*/ 758659 h 2270190"/>
              <a:gd name="connsiteX5" fmla="*/ 5606716 w 8952999"/>
              <a:gd name="connsiteY5" fmla="*/ 2221159 h 2270190"/>
              <a:gd name="connsiteX6" fmla="*/ 5473004 w 8952999"/>
              <a:gd name="connsiteY6" fmla="*/ 2270190 h 2270190"/>
              <a:gd name="connsiteX7" fmla="*/ 4543439 w 8952999"/>
              <a:gd name="connsiteY7" fmla="*/ 2270190 h 2270190"/>
              <a:gd name="connsiteX8" fmla="*/ 4436704 w 8952999"/>
              <a:gd name="connsiteY8" fmla="*/ 2248440 h 2270190"/>
              <a:gd name="connsiteX9" fmla="*/ 2066061 w 8952999"/>
              <a:gd name="connsiteY9" fmla="*/ 1455433 h 2270190"/>
              <a:gd name="connsiteX10" fmla="*/ 0 w 8952999"/>
              <a:gd name="connsiteY10" fmla="*/ 392899 h 2270190"/>
              <a:gd name="connsiteX11" fmla="*/ 2344853 w 8952999"/>
              <a:gd name="connsiteY11" fmla="*/ 514819 h 2270190"/>
              <a:gd name="connsiteX12" fmla="*/ 4493976 w 8952999"/>
              <a:gd name="connsiteY12" fmla="*/ 0 h 2270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952999" h="2270190">
                <a:moveTo>
                  <a:pt x="4493976" y="0"/>
                </a:moveTo>
                <a:cubicBezTo>
                  <a:pt x="4493976" y="0"/>
                  <a:pt x="4554010" y="71754"/>
                  <a:pt x="4881940" y="158928"/>
                </a:cubicBezTo>
                <a:cubicBezTo>
                  <a:pt x="5209870" y="246102"/>
                  <a:pt x="5345565" y="671691"/>
                  <a:pt x="5870253" y="758659"/>
                </a:cubicBezTo>
                <a:cubicBezTo>
                  <a:pt x="6394941" y="845627"/>
                  <a:pt x="7116592" y="834319"/>
                  <a:pt x="7245708" y="800601"/>
                </a:cubicBezTo>
                <a:cubicBezTo>
                  <a:pt x="7374824" y="766883"/>
                  <a:pt x="8952999" y="758659"/>
                  <a:pt x="8952999" y="758659"/>
                </a:cubicBezTo>
                <a:cubicBezTo>
                  <a:pt x="8952999" y="758659"/>
                  <a:pt x="6567011" y="1854616"/>
                  <a:pt x="5606716" y="2221159"/>
                </a:cubicBezTo>
                <a:lnTo>
                  <a:pt x="5473004" y="2270190"/>
                </a:lnTo>
                <a:lnTo>
                  <a:pt x="4543439" y="2270190"/>
                </a:lnTo>
                <a:lnTo>
                  <a:pt x="4436704" y="2248440"/>
                </a:lnTo>
                <a:cubicBezTo>
                  <a:pt x="3575643" y="2049161"/>
                  <a:pt x="2541418" y="1567806"/>
                  <a:pt x="2066061" y="1455433"/>
                </a:cubicBezTo>
                <a:cubicBezTo>
                  <a:pt x="1374632" y="1291982"/>
                  <a:pt x="0" y="392899"/>
                  <a:pt x="0" y="392899"/>
                </a:cubicBezTo>
                <a:cubicBezTo>
                  <a:pt x="0" y="392899"/>
                  <a:pt x="2000475" y="567041"/>
                  <a:pt x="2344853" y="514819"/>
                </a:cubicBezTo>
                <a:cubicBezTo>
                  <a:pt x="2689230" y="462597"/>
                  <a:pt x="4493976" y="0"/>
                  <a:pt x="4493976" y="0"/>
                </a:cubicBezTo>
                <a:close/>
              </a:path>
            </a:pathLst>
          </a:custGeom>
          <a:solidFill>
            <a:srgbClr val="F38532"/>
          </a:solidFill>
          <a:ln w="2056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5280C59-5846-27E3-BA54-B1BCA9B41FE5}"/>
              </a:ext>
            </a:extLst>
          </p:cNvPr>
          <p:cNvSpPr/>
          <p:nvPr/>
        </p:nvSpPr>
        <p:spPr>
          <a:xfrm>
            <a:off x="-502918" y="10718976"/>
            <a:ext cx="10277025" cy="2483266"/>
          </a:xfrm>
          <a:custGeom>
            <a:avLst/>
            <a:gdLst>
              <a:gd name="connsiteX0" fmla="*/ 1496917 w 10277025"/>
              <a:gd name="connsiteY0" fmla="*/ 6 h 2483266"/>
              <a:gd name="connsiteX1" fmla="*/ 1728738 w 10277025"/>
              <a:gd name="connsiteY1" fmla="*/ 63400 h 2483266"/>
              <a:gd name="connsiteX2" fmla="*/ 2929316 w 10277025"/>
              <a:gd name="connsiteY2" fmla="*/ 597957 h 2483266"/>
              <a:gd name="connsiteX3" fmla="*/ 5788009 w 10277025"/>
              <a:gd name="connsiteY3" fmla="*/ 1915432 h 2483266"/>
              <a:gd name="connsiteX4" fmla="*/ 7837992 w 10277025"/>
              <a:gd name="connsiteY4" fmla="*/ 2290650 h 2483266"/>
              <a:gd name="connsiteX5" fmla="*/ 9898739 w 10277025"/>
              <a:gd name="connsiteY5" fmla="*/ 1785905 h 2483266"/>
              <a:gd name="connsiteX6" fmla="*/ 10277025 w 10277025"/>
              <a:gd name="connsiteY6" fmla="*/ 2483266 h 2483266"/>
              <a:gd name="connsiteX7" fmla="*/ 518940 w 10277025"/>
              <a:gd name="connsiteY7" fmla="*/ 2483266 h 2483266"/>
              <a:gd name="connsiteX8" fmla="*/ 488547 w 10277025"/>
              <a:gd name="connsiteY8" fmla="*/ 2419974 h 2483266"/>
              <a:gd name="connsiteX9" fmla="*/ 0 w 10277025"/>
              <a:gd name="connsiteY9" fmla="*/ 549846 h 2483266"/>
              <a:gd name="connsiteX10" fmla="*/ 440312 w 10277025"/>
              <a:gd name="connsiteY10" fmla="*/ 360490 h 2483266"/>
              <a:gd name="connsiteX11" fmla="*/ 1496917 w 10277025"/>
              <a:gd name="connsiteY11" fmla="*/ 6 h 2483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277025" h="2483266">
                <a:moveTo>
                  <a:pt x="1496917" y="6"/>
                </a:moveTo>
                <a:cubicBezTo>
                  <a:pt x="1570201" y="381"/>
                  <a:pt x="1646381" y="18837"/>
                  <a:pt x="1728738" y="63400"/>
                </a:cubicBezTo>
                <a:cubicBezTo>
                  <a:pt x="2167974" y="300867"/>
                  <a:pt x="2460797" y="508932"/>
                  <a:pt x="2929316" y="597957"/>
                </a:cubicBezTo>
                <a:cubicBezTo>
                  <a:pt x="3397834" y="686981"/>
                  <a:pt x="5788009" y="1915432"/>
                  <a:pt x="5788009" y="1915432"/>
                </a:cubicBezTo>
                <a:cubicBezTo>
                  <a:pt x="5788009" y="1915432"/>
                  <a:pt x="7515886" y="2290650"/>
                  <a:pt x="7837992" y="2290650"/>
                </a:cubicBezTo>
                <a:cubicBezTo>
                  <a:pt x="8160097" y="2290650"/>
                  <a:pt x="9898739" y="1785905"/>
                  <a:pt x="9898739" y="1785905"/>
                </a:cubicBezTo>
                <a:lnTo>
                  <a:pt x="10277025" y="2483266"/>
                </a:lnTo>
                <a:lnTo>
                  <a:pt x="518940" y="2483266"/>
                </a:lnTo>
                <a:lnTo>
                  <a:pt x="488547" y="2419974"/>
                </a:lnTo>
                <a:cubicBezTo>
                  <a:pt x="227854" y="1837582"/>
                  <a:pt x="59184" y="1208662"/>
                  <a:pt x="0" y="549846"/>
                </a:cubicBezTo>
                <a:cubicBezTo>
                  <a:pt x="147704" y="441085"/>
                  <a:pt x="296700" y="367480"/>
                  <a:pt x="440312" y="360490"/>
                </a:cubicBezTo>
                <a:cubicBezTo>
                  <a:pt x="916152" y="336268"/>
                  <a:pt x="1179350" y="-1620"/>
                  <a:pt x="1496917" y="6"/>
                </a:cubicBezTo>
                <a:close/>
              </a:path>
            </a:pathLst>
          </a:custGeom>
          <a:solidFill>
            <a:srgbClr val="F0743E"/>
          </a:solidFill>
          <a:ln w="2056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C5633B5-4855-F3B9-CD3C-DF09C9BE3039}"/>
              </a:ext>
            </a:extLst>
          </p:cNvPr>
          <p:cNvSpPr/>
          <p:nvPr/>
        </p:nvSpPr>
        <p:spPr>
          <a:xfrm>
            <a:off x="6233448" y="10785255"/>
            <a:ext cx="6598632" cy="2416987"/>
          </a:xfrm>
          <a:custGeom>
            <a:avLst/>
            <a:gdLst>
              <a:gd name="connsiteX0" fmla="*/ 6598632 w 6598632"/>
              <a:gd name="connsiteY0" fmla="*/ 0 h 2416987"/>
              <a:gd name="connsiteX1" fmla="*/ 6110935 w 6598632"/>
              <a:gd name="connsiteY1" fmla="*/ 2274416 h 2416987"/>
              <a:gd name="connsiteX2" fmla="*/ 6042637 w 6598632"/>
              <a:gd name="connsiteY2" fmla="*/ 2416987 h 2416987"/>
              <a:gd name="connsiteX3" fmla="*/ 0 w 6598632"/>
              <a:gd name="connsiteY3" fmla="*/ 2416987 h 2416987"/>
              <a:gd name="connsiteX4" fmla="*/ 69744 w 6598632"/>
              <a:gd name="connsiteY4" fmla="*/ 2383351 h 2416987"/>
              <a:gd name="connsiteX5" fmla="*/ 877768 w 6598632"/>
              <a:gd name="connsiteY5" fmla="*/ 1957299 h 2416987"/>
              <a:gd name="connsiteX6" fmla="*/ 1835426 w 6598632"/>
              <a:gd name="connsiteY6" fmla="*/ 1749439 h 2416987"/>
              <a:gd name="connsiteX7" fmla="*/ 2673377 w 6598632"/>
              <a:gd name="connsiteY7" fmla="*/ 1511767 h 2416987"/>
              <a:gd name="connsiteX8" fmla="*/ 3690889 w 6598632"/>
              <a:gd name="connsiteY8" fmla="*/ 947398 h 2416987"/>
              <a:gd name="connsiteX9" fmla="*/ 5099430 w 6598632"/>
              <a:gd name="connsiteY9" fmla="*/ 686083 h 2416987"/>
              <a:gd name="connsiteX10" fmla="*/ 6598632 w 6598632"/>
              <a:gd name="connsiteY10" fmla="*/ 0 h 2416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98632" h="2416987">
                <a:moveTo>
                  <a:pt x="6598632" y="0"/>
                </a:moveTo>
                <a:cubicBezTo>
                  <a:pt x="6592278" y="804688"/>
                  <a:pt x="6419535" y="1572338"/>
                  <a:pt x="6110935" y="2274416"/>
                </a:cubicBezTo>
                <a:lnTo>
                  <a:pt x="6042637" y="2416987"/>
                </a:lnTo>
                <a:lnTo>
                  <a:pt x="0" y="2416987"/>
                </a:lnTo>
                <a:lnTo>
                  <a:pt x="69744" y="2383351"/>
                </a:lnTo>
                <a:cubicBezTo>
                  <a:pt x="423254" y="2207911"/>
                  <a:pt x="877768" y="1957299"/>
                  <a:pt x="877768" y="1957299"/>
                </a:cubicBezTo>
                <a:cubicBezTo>
                  <a:pt x="877768" y="1957299"/>
                  <a:pt x="1476304" y="1779045"/>
                  <a:pt x="1835426" y="1749439"/>
                </a:cubicBezTo>
                <a:cubicBezTo>
                  <a:pt x="2194548" y="1719627"/>
                  <a:pt x="2463889" y="1630603"/>
                  <a:pt x="2673377" y="1511767"/>
                </a:cubicBezTo>
                <a:cubicBezTo>
                  <a:pt x="2882865" y="1392931"/>
                  <a:pt x="3298100" y="1053693"/>
                  <a:pt x="3690889" y="947398"/>
                </a:cubicBezTo>
                <a:cubicBezTo>
                  <a:pt x="3802455" y="917175"/>
                  <a:pt x="4425418" y="920465"/>
                  <a:pt x="5099430" y="686083"/>
                </a:cubicBezTo>
                <a:cubicBezTo>
                  <a:pt x="5647576" y="495493"/>
                  <a:pt x="6229828" y="84912"/>
                  <a:pt x="6598632" y="0"/>
                </a:cubicBezTo>
                <a:close/>
              </a:path>
            </a:pathLst>
          </a:custGeom>
          <a:solidFill>
            <a:srgbClr val="DC5541"/>
          </a:solidFill>
          <a:ln w="2056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EA8DE6A-B156-4119-086B-343BFDD43064}"/>
              </a:ext>
            </a:extLst>
          </p:cNvPr>
          <p:cNvSpPr/>
          <p:nvPr/>
        </p:nvSpPr>
        <p:spPr>
          <a:xfrm>
            <a:off x="1942263" y="11315221"/>
            <a:ext cx="1152676" cy="2143307"/>
          </a:xfrm>
          <a:custGeom>
            <a:avLst/>
            <a:gdLst>
              <a:gd name="connsiteX0" fmla="*/ 631006 w 1152676"/>
              <a:gd name="connsiteY0" fmla="*/ 13495 h 2143307"/>
              <a:gd name="connsiteX1" fmla="*/ 595996 w 1152676"/>
              <a:gd name="connsiteY1" fmla="*/ 32111 h 2143307"/>
              <a:gd name="connsiteX2" fmla="*/ 525977 w 1152676"/>
              <a:gd name="connsiteY2" fmla="*/ 345669 h 2143307"/>
              <a:gd name="connsiteX3" fmla="*/ 315642 w 1152676"/>
              <a:gd name="connsiteY3" fmla="*/ 698266 h 2143307"/>
              <a:gd name="connsiteX4" fmla="*/ 435119 w 1152676"/>
              <a:gd name="connsiteY4" fmla="*/ 650058 h 2143307"/>
              <a:gd name="connsiteX5" fmla="*/ 296887 w 1152676"/>
              <a:gd name="connsiteY5" fmla="*/ 819271 h 2143307"/>
              <a:gd name="connsiteX6" fmla="*/ 390107 w 1152676"/>
              <a:gd name="connsiteY6" fmla="*/ 820383 h 2143307"/>
              <a:gd name="connsiteX7" fmla="*/ 282855 w 1152676"/>
              <a:gd name="connsiteY7" fmla="*/ 922633 h 2143307"/>
              <a:gd name="connsiteX8" fmla="*/ 400110 w 1152676"/>
              <a:gd name="connsiteY8" fmla="*/ 909296 h 2143307"/>
              <a:gd name="connsiteX9" fmla="*/ 242427 w 1152676"/>
              <a:gd name="connsiteY9" fmla="*/ 1087817 h 2143307"/>
              <a:gd name="connsiteX10" fmla="*/ 411085 w 1152676"/>
              <a:gd name="connsiteY10" fmla="*/ 1075452 h 2143307"/>
              <a:gd name="connsiteX11" fmla="*/ 202000 w 1152676"/>
              <a:gd name="connsiteY11" fmla="*/ 1253001 h 2143307"/>
              <a:gd name="connsiteX12" fmla="*/ 329535 w 1152676"/>
              <a:gd name="connsiteY12" fmla="*/ 1257586 h 2143307"/>
              <a:gd name="connsiteX13" fmla="*/ 161572 w 1152676"/>
              <a:gd name="connsiteY13" fmla="*/ 1418046 h 2143307"/>
              <a:gd name="connsiteX14" fmla="*/ 286051 w 1152676"/>
              <a:gd name="connsiteY14" fmla="*/ 1427910 h 2143307"/>
              <a:gd name="connsiteX15" fmla="*/ 121144 w 1152676"/>
              <a:gd name="connsiteY15" fmla="*/ 1583230 h 2143307"/>
              <a:gd name="connsiteX16" fmla="*/ 307306 w 1152676"/>
              <a:gd name="connsiteY16" fmla="*/ 1565725 h 2143307"/>
              <a:gd name="connsiteX17" fmla="*/ 80717 w 1152676"/>
              <a:gd name="connsiteY17" fmla="*/ 1748275 h 2143307"/>
              <a:gd name="connsiteX18" fmla="*/ 253819 w 1152676"/>
              <a:gd name="connsiteY18" fmla="*/ 1747442 h 2143307"/>
              <a:gd name="connsiteX19" fmla="*/ 40289 w 1152676"/>
              <a:gd name="connsiteY19" fmla="*/ 1913321 h 2143307"/>
              <a:gd name="connsiteX20" fmla="*/ 164212 w 1152676"/>
              <a:gd name="connsiteY20" fmla="*/ 1938328 h 2143307"/>
              <a:gd name="connsiteX21" fmla="*/ 0 w 1152676"/>
              <a:gd name="connsiteY21" fmla="*/ 2078366 h 2143307"/>
              <a:gd name="connsiteX22" fmla="*/ 1152677 w 1152676"/>
              <a:gd name="connsiteY22" fmla="*/ 2103512 h 2143307"/>
              <a:gd name="connsiteX23" fmla="*/ 1016667 w 1152676"/>
              <a:gd name="connsiteY23" fmla="*/ 1953471 h 2143307"/>
              <a:gd name="connsiteX24" fmla="*/ 1112249 w 1152676"/>
              <a:gd name="connsiteY24" fmla="*/ 1938466 h 2143307"/>
              <a:gd name="connsiteX25" fmla="*/ 985548 w 1152676"/>
              <a:gd name="connsiteY25" fmla="*/ 1788148 h 2143307"/>
              <a:gd name="connsiteX26" fmla="*/ 1071821 w 1152676"/>
              <a:gd name="connsiteY26" fmla="*/ 1773421 h 2143307"/>
              <a:gd name="connsiteX27" fmla="*/ 954428 w 1152676"/>
              <a:gd name="connsiteY27" fmla="*/ 1622686 h 2143307"/>
              <a:gd name="connsiteX28" fmla="*/ 1031394 w 1152676"/>
              <a:gd name="connsiteY28" fmla="*/ 1608376 h 2143307"/>
              <a:gd name="connsiteX29" fmla="*/ 923308 w 1152676"/>
              <a:gd name="connsiteY29" fmla="*/ 1457224 h 2143307"/>
              <a:gd name="connsiteX30" fmla="*/ 990966 w 1152676"/>
              <a:gd name="connsiteY30" fmla="*/ 1443331 h 2143307"/>
              <a:gd name="connsiteX31" fmla="*/ 859958 w 1152676"/>
              <a:gd name="connsiteY31" fmla="*/ 1261476 h 2143307"/>
              <a:gd name="connsiteX32" fmla="*/ 950538 w 1152676"/>
              <a:gd name="connsiteY32" fmla="*/ 1278286 h 2143307"/>
              <a:gd name="connsiteX33" fmla="*/ 828838 w 1152676"/>
              <a:gd name="connsiteY33" fmla="*/ 1098098 h 2143307"/>
              <a:gd name="connsiteX34" fmla="*/ 910110 w 1152676"/>
              <a:gd name="connsiteY34" fmla="*/ 1113241 h 2143307"/>
              <a:gd name="connsiteX35" fmla="*/ 781464 w 1152676"/>
              <a:gd name="connsiteY35" fmla="*/ 929857 h 2143307"/>
              <a:gd name="connsiteX36" fmla="*/ 869682 w 1152676"/>
              <a:gd name="connsiteY36" fmla="*/ 948195 h 2143307"/>
              <a:gd name="connsiteX37" fmla="*/ 759375 w 1152676"/>
              <a:gd name="connsiteY37" fmla="*/ 810797 h 2143307"/>
              <a:gd name="connsiteX38" fmla="*/ 855651 w 1152676"/>
              <a:gd name="connsiteY38" fmla="*/ 850947 h 2143307"/>
              <a:gd name="connsiteX39" fmla="*/ 779658 w 1152676"/>
              <a:gd name="connsiteY39" fmla="*/ 707018 h 2143307"/>
              <a:gd name="connsiteX40" fmla="*/ 836896 w 1152676"/>
              <a:gd name="connsiteY40" fmla="*/ 723967 h 2143307"/>
              <a:gd name="connsiteX41" fmla="*/ 692829 w 1152676"/>
              <a:gd name="connsiteY41" fmla="*/ 382485 h 2143307"/>
              <a:gd name="connsiteX42" fmla="*/ 631006 w 1152676"/>
              <a:gd name="connsiteY42" fmla="*/ 13495 h 2143307"/>
              <a:gd name="connsiteX43" fmla="*/ 631006 w 1152676"/>
              <a:gd name="connsiteY43" fmla="*/ 13495 h 2143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152676" h="2143307">
                <a:moveTo>
                  <a:pt x="631006" y="13495"/>
                </a:moveTo>
                <a:cubicBezTo>
                  <a:pt x="628366" y="-6094"/>
                  <a:pt x="600998" y="-7900"/>
                  <a:pt x="595996" y="32111"/>
                </a:cubicBezTo>
                <a:cubicBezTo>
                  <a:pt x="570851" y="234945"/>
                  <a:pt x="570434" y="210077"/>
                  <a:pt x="525977" y="345669"/>
                </a:cubicBezTo>
                <a:cubicBezTo>
                  <a:pt x="487217" y="481818"/>
                  <a:pt x="388162" y="579761"/>
                  <a:pt x="315642" y="698266"/>
                </a:cubicBezTo>
                <a:cubicBezTo>
                  <a:pt x="326339" y="703406"/>
                  <a:pt x="424005" y="645474"/>
                  <a:pt x="435119" y="650058"/>
                </a:cubicBezTo>
                <a:cubicBezTo>
                  <a:pt x="419143" y="686318"/>
                  <a:pt x="315364" y="784539"/>
                  <a:pt x="296887" y="819271"/>
                </a:cubicBezTo>
                <a:cubicBezTo>
                  <a:pt x="309529" y="826218"/>
                  <a:pt x="376909" y="814270"/>
                  <a:pt x="390107" y="820383"/>
                </a:cubicBezTo>
                <a:cubicBezTo>
                  <a:pt x="373713" y="848863"/>
                  <a:pt x="301749" y="895264"/>
                  <a:pt x="282855" y="922633"/>
                </a:cubicBezTo>
                <a:cubicBezTo>
                  <a:pt x="301333" y="930413"/>
                  <a:pt x="380660" y="902766"/>
                  <a:pt x="400110" y="909296"/>
                </a:cubicBezTo>
                <a:cubicBezTo>
                  <a:pt x="371352" y="958754"/>
                  <a:pt x="278687" y="1041415"/>
                  <a:pt x="242427" y="1087817"/>
                </a:cubicBezTo>
                <a:cubicBezTo>
                  <a:pt x="264378" y="1096014"/>
                  <a:pt x="387884" y="1068645"/>
                  <a:pt x="411085" y="1075452"/>
                </a:cubicBezTo>
                <a:cubicBezTo>
                  <a:pt x="378993" y="1124494"/>
                  <a:pt x="242289" y="1207016"/>
                  <a:pt x="202000" y="1253001"/>
                </a:cubicBezTo>
                <a:cubicBezTo>
                  <a:pt x="227562" y="1261476"/>
                  <a:pt x="302444" y="1250639"/>
                  <a:pt x="329535" y="1257586"/>
                </a:cubicBezTo>
                <a:cubicBezTo>
                  <a:pt x="294108" y="1306349"/>
                  <a:pt x="206168" y="1372339"/>
                  <a:pt x="161572" y="1418046"/>
                </a:cubicBezTo>
                <a:cubicBezTo>
                  <a:pt x="190747" y="1426799"/>
                  <a:pt x="255209" y="1420825"/>
                  <a:pt x="286051" y="1427910"/>
                </a:cubicBezTo>
                <a:cubicBezTo>
                  <a:pt x="247290" y="1476534"/>
                  <a:pt x="169769" y="1537662"/>
                  <a:pt x="121144" y="1583230"/>
                </a:cubicBezTo>
                <a:cubicBezTo>
                  <a:pt x="153931" y="1592261"/>
                  <a:pt x="272436" y="1558501"/>
                  <a:pt x="307306" y="1565725"/>
                </a:cubicBezTo>
                <a:cubicBezTo>
                  <a:pt x="265211" y="1614072"/>
                  <a:pt x="133648" y="1702985"/>
                  <a:pt x="80717" y="1748275"/>
                </a:cubicBezTo>
                <a:cubicBezTo>
                  <a:pt x="117115" y="1757445"/>
                  <a:pt x="215198" y="1740079"/>
                  <a:pt x="253819" y="1747442"/>
                </a:cubicBezTo>
                <a:cubicBezTo>
                  <a:pt x="208390" y="1795650"/>
                  <a:pt x="97249" y="1868169"/>
                  <a:pt x="40289" y="1913321"/>
                </a:cubicBezTo>
                <a:cubicBezTo>
                  <a:pt x="80300" y="1922629"/>
                  <a:pt x="121700" y="1930964"/>
                  <a:pt x="164212" y="1938328"/>
                </a:cubicBezTo>
                <a:cubicBezTo>
                  <a:pt x="115448" y="1986396"/>
                  <a:pt x="60989" y="2033215"/>
                  <a:pt x="0" y="2078366"/>
                </a:cubicBezTo>
                <a:cubicBezTo>
                  <a:pt x="340232" y="2151719"/>
                  <a:pt x="772017" y="2166862"/>
                  <a:pt x="1152677" y="2103512"/>
                </a:cubicBezTo>
                <a:cubicBezTo>
                  <a:pt x="1102524" y="2054331"/>
                  <a:pt x="1057512" y="2004179"/>
                  <a:pt x="1016667" y="1953471"/>
                </a:cubicBezTo>
                <a:cubicBezTo>
                  <a:pt x="1048759" y="1949025"/>
                  <a:pt x="1080713" y="1944023"/>
                  <a:pt x="1112249" y="1938466"/>
                </a:cubicBezTo>
                <a:cubicBezTo>
                  <a:pt x="1065570" y="1889147"/>
                  <a:pt x="1023614" y="1838856"/>
                  <a:pt x="985548" y="1788148"/>
                </a:cubicBezTo>
                <a:cubicBezTo>
                  <a:pt x="1014583" y="1783841"/>
                  <a:pt x="1043341" y="1778978"/>
                  <a:pt x="1071821" y="1773421"/>
                </a:cubicBezTo>
                <a:cubicBezTo>
                  <a:pt x="1028615" y="1723963"/>
                  <a:pt x="989715" y="1673672"/>
                  <a:pt x="954428" y="1622686"/>
                </a:cubicBezTo>
                <a:cubicBezTo>
                  <a:pt x="980268" y="1618518"/>
                  <a:pt x="1005970" y="1613655"/>
                  <a:pt x="1031394" y="1608376"/>
                </a:cubicBezTo>
                <a:cubicBezTo>
                  <a:pt x="991521" y="1558779"/>
                  <a:pt x="955678" y="1508349"/>
                  <a:pt x="923308" y="1457224"/>
                </a:cubicBezTo>
                <a:cubicBezTo>
                  <a:pt x="946092" y="1453056"/>
                  <a:pt x="968598" y="1448471"/>
                  <a:pt x="990966" y="1443331"/>
                </a:cubicBezTo>
                <a:cubicBezTo>
                  <a:pt x="954567" y="1393595"/>
                  <a:pt x="889549" y="1312740"/>
                  <a:pt x="859958" y="1261476"/>
                </a:cubicBezTo>
                <a:cubicBezTo>
                  <a:pt x="879546" y="1257447"/>
                  <a:pt x="931366" y="1283148"/>
                  <a:pt x="950538" y="1278286"/>
                </a:cubicBezTo>
                <a:cubicBezTo>
                  <a:pt x="917473" y="1228272"/>
                  <a:pt x="855651" y="1149500"/>
                  <a:pt x="828838" y="1098098"/>
                </a:cubicBezTo>
                <a:cubicBezTo>
                  <a:pt x="845370" y="1094346"/>
                  <a:pt x="893995" y="1117964"/>
                  <a:pt x="910110" y="1113241"/>
                </a:cubicBezTo>
                <a:cubicBezTo>
                  <a:pt x="880519" y="1062949"/>
                  <a:pt x="805498" y="981538"/>
                  <a:pt x="781464" y="929857"/>
                </a:cubicBezTo>
                <a:cubicBezTo>
                  <a:pt x="794801" y="926245"/>
                  <a:pt x="856484" y="952502"/>
                  <a:pt x="869682" y="948195"/>
                </a:cubicBezTo>
                <a:cubicBezTo>
                  <a:pt x="854956" y="919715"/>
                  <a:pt x="772573" y="839832"/>
                  <a:pt x="759375" y="810797"/>
                </a:cubicBezTo>
                <a:cubicBezTo>
                  <a:pt x="768683" y="807323"/>
                  <a:pt x="846482" y="854836"/>
                  <a:pt x="855651" y="850947"/>
                </a:cubicBezTo>
                <a:cubicBezTo>
                  <a:pt x="840091" y="811908"/>
                  <a:pt x="793273" y="746890"/>
                  <a:pt x="779658" y="707018"/>
                </a:cubicBezTo>
                <a:cubicBezTo>
                  <a:pt x="787993" y="704379"/>
                  <a:pt x="828560" y="727024"/>
                  <a:pt x="836896" y="723967"/>
                </a:cubicBezTo>
                <a:cubicBezTo>
                  <a:pt x="784381" y="609908"/>
                  <a:pt x="725337" y="502796"/>
                  <a:pt x="692829" y="382485"/>
                </a:cubicBezTo>
                <a:cubicBezTo>
                  <a:pt x="636285" y="129638"/>
                  <a:pt x="665877" y="258145"/>
                  <a:pt x="631006" y="13495"/>
                </a:cubicBezTo>
                <a:lnTo>
                  <a:pt x="631006" y="13495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EABDE49A-C2AB-7454-8F36-292AD937849E}"/>
              </a:ext>
            </a:extLst>
          </p:cNvPr>
          <p:cNvSpPr/>
          <p:nvPr/>
        </p:nvSpPr>
        <p:spPr>
          <a:xfrm>
            <a:off x="1410754" y="11774936"/>
            <a:ext cx="857734" cy="1594608"/>
          </a:xfrm>
          <a:custGeom>
            <a:avLst/>
            <a:gdLst>
              <a:gd name="connsiteX0" fmla="*/ 469573 w 857734"/>
              <a:gd name="connsiteY0" fmla="*/ 10018 h 1594608"/>
              <a:gd name="connsiteX1" fmla="*/ 443594 w 857734"/>
              <a:gd name="connsiteY1" fmla="*/ 23910 h 1594608"/>
              <a:gd name="connsiteX2" fmla="*/ 391496 w 857734"/>
              <a:gd name="connsiteY2" fmla="*/ 257169 h 1594608"/>
              <a:gd name="connsiteX3" fmla="*/ 234925 w 857734"/>
              <a:gd name="connsiteY3" fmla="*/ 519602 h 1594608"/>
              <a:gd name="connsiteX4" fmla="*/ 323839 w 857734"/>
              <a:gd name="connsiteY4" fmla="*/ 483758 h 1594608"/>
              <a:gd name="connsiteX5" fmla="*/ 221033 w 857734"/>
              <a:gd name="connsiteY5" fmla="*/ 609626 h 1594608"/>
              <a:gd name="connsiteX6" fmla="*/ 290357 w 857734"/>
              <a:gd name="connsiteY6" fmla="*/ 610460 h 1594608"/>
              <a:gd name="connsiteX7" fmla="*/ 210613 w 857734"/>
              <a:gd name="connsiteY7" fmla="*/ 686453 h 1594608"/>
              <a:gd name="connsiteX8" fmla="*/ 297859 w 857734"/>
              <a:gd name="connsiteY8" fmla="*/ 676450 h 1594608"/>
              <a:gd name="connsiteX9" fmla="*/ 180466 w 857734"/>
              <a:gd name="connsiteY9" fmla="*/ 809264 h 1594608"/>
              <a:gd name="connsiteX10" fmla="*/ 306056 w 857734"/>
              <a:gd name="connsiteY10" fmla="*/ 799956 h 1594608"/>
              <a:gd name="connsiteX11" fmla="*/ 150458 w 857734"/>
              <a:gd name="connsiteY11" fmla="*/ 932076 h 1594608"/>
              <a:gd name="connsiteX12" fmla="*/ 245345 w 857734"/>
              <a:gd name="connsiteY12" fmla="*/ 935410 h 1594608"/>
              <a:gd name="connsiteX13" fmla="*/ 120450 w 857734"/>
              <a:gd name="connsiteY13" fmla="*/ 1054887 h 1594608"/>
              <a:gd name="connsiteX14" fmla="*/ 213114 w 857734"/>
              <a:gd name="connsiteY14" fmla="*/ 1062250 h 1594608"/>
              <a:gd name="connsiteX15" fmla="*/ 90303 w 857734"/>
              <a:gd name="connsiteY15" fmla="*/ 1177837 h 1594608"/>
              <a:gd name="connsiteX16" fmla="*/ 228813 w 857734"/>
              <a:gd name="connsiteY16" fmla="*/ 1164778 h 1594608"/>
              <a:gd name="connsiteX17" fmla="*/ 60294 w 857734"/>
              <a:gd name="connsiteY17" fmla="*/ 1300649 h 1594608"/>
              <a:gd name="connsiteX18" fmla="*/ 189080 w 857734"/>
              <a:gd name="connsiteY18" fmla="*/ 1299954 h 1594608"/>
              <a:gd name="connsiteX19" fmla="*/ 30147 w 857734"/>
              <a:gd name="connsiteY19" fmla="*/ 1423460 h 1594608"/>
              <a:gd name="connsiteX20" fmla="*/ 122256 w 857734"/>
              <a:gd name="connsiteY20" fmla="*/ 1442076 h 1594608"/>
              <a:gd name="connsiteX21" fmla="*/ 0 w 857734"/>
              <a:gd name="connsiteY21" fmla="*/ 1546271 h 1594608"/>
              <a:gd name="connsiteX22" fmla="*/ 857735 w 857734"/>
              <a:gd name="connsiteY22" fmla="*/ 1565027 h 1594608"/>
              <a:gd name="connsiteX23" fmla="*/ 756596 w 857734"/>
              <a:gd name="connsiteY23" fmla="*/ 1453329 h 1594608"/>
              <a:gd name="connsiteX24" fmla="*/ 827727 w 857734"/>
              <a:gd name="connsiteY24" fmla="*/ 1442215 h 1594608"/>
              <a:gd name="connsiteX25" fmla="*/ 733534 w 857734"/>
              <a:gd name="connsiteY25" fmla="*/ 1330379 h 1594608"/>
              <a:gd name="connsiteX26" fmla="*/ 797718 w 857734"/>
              <a:gd name="connsiteY26" fmla="*/ 1319404 h 1594608"/>
              <a:gd name="connsiteX27" fmla="*/ 710333 w 857734"/>
              <a:gd name="connsiteY27" fmla="*/ 1207290 h 1594608"/>
              <a:gd name="connsiteX28" fmla="*/ 767571 w 857734"/>
              <a:gd name="connsiteY28" fmla="*/ 1196592 h 1594608"/>
              <a:gd name="connsiteX29" fmla="*/ 687133 w 857734"/>
              <a:gd name="connsiteY29" fmla="*/ 1084062 h 1594608"/>
              <a:gd name="connsiteX30" fmla="*/ 737424 w 857734"/>
              <a:gd name="connsiteY30" fmla="*/ 1073781 h 1594608"/>
              <a:gd name="connsiteX31" fmla="*/ 639897 w 857734"/>
              <a:gd name="connsiteY31" fmla="*/ 938466 h 1594608"/>
              <a:gd name="connsiteX32" fmla="*/ 707277 w 857734"/>
              <a:gd name="connsiteY32" fmla="*/ 950970 h 1594608"/>
              <a:gd name="connsiteX33" fmla="*/ 616697 w 857734"/>
              <a:gd name="connsiteY33" fmla="*/ 816905 h 1594608"/>
              <a:gd name="connsiteX34" fmla="*/ 677269 w 857734"/>
              <a:gd name="connsiteY34" fmla="*/ 828158 h 1594608"/>
              <a:gd name="connsiteX35" fmla="*/ 581548 w 857734"/>
              <a:gd name="connsiteY35" fmla="*/ 691732 h 1594608"/>
              <a:gd name="connsiteX36" fmla="*/ 647122 w 857734"/>
              <a:gd name="connsiteY36" fmla="*/ 705347 h 1594608"/>
              <a:gd name="connsiteX37" fmla="*/ 565016 w 857734"/>
              <a:gd name="connsiteY37" fmla="*/ 603097 h 1594608"/>
              <a:gd name="connsiteX38" fmla="*/ 636702 w 857734"/>
              <a:gd name="connsiteY38" fmla="*/ 632966 h 1594608"/>
              <a:gd name="connsiteX39" fmla="*/ 580159 w 857734"/>
              <a:gd name="connsiteY39" fmla="*/ 525853 h 1594608"/>
              <a:gd name="connsiteX40" fmla="*/ 622670 w 857734"/>
              <a:gd name="connsiteY40" fmla="*/ 538496 h 1594608"/>
              <a:gd name="connsiteX41" fmla="*/ 515419 w 857734"/>
              <a:gd name="connsiteY41" fmla="*/ 284398 h 1594608"/>
              <a:gd name="connsiteX42" fmla="*/ 469573 w 857734"/>
              <a:gd name="connsiteY42" fmla="*/ 10018 h 1594608"/>
              <a:gd name="connsiteX43" fmla="*/ 469573 w 857734"/>
              <a:gd name="connsiteY43" fmla="*/ 10018 h 1594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734" h="1594608">
                <a:moveTo>
                  <a:pt x="469573" y="10018"/>
                </a:moveTo>
                <a:cubicBezTo>
                  <a:pt x="467628" y="-4570"/>
                  <a:pt x="447206" y="-5820"/>
                  <a:pt x="443594" y="23910"/>
                </a:cubicBezTo>
                <a:cubicBezTo>
                  <a:pt x="424839" y="174924"/>
                  <a:pt x="424561" y="156308"/>
                  <a:pt x="391496" y="257169"/>
                </a:cubicBezTo>
                <a:cubicBezTo>
                  <a:pt x="362599" y="358446"/>
                  <a:pt x="288968" y="431244"/>
                  <a:pt x="234925" y="519602"/>
                </a:cubicBezTo>
                <a:cubicBezTo>
                  <a:pt x="242844" y="523353"/>
                  <a:pt x="315503" y="480424"/>
                  <a:pt x="323839" y="483758"/>
                </a:cubicBezTo>
                <a:cubicBezTo>
                  <a:pt x="311891" y="510710"/>
                  <a:pt x="234648" y="583786"/>
                  <a:pt x="221033" y="609626"/>
                </a:cubicBezTo>
                <a:cubicBezTo>
                  <a:pt x="230480" y="614766"/>
                  <a:pt x="280632" y="605875"/>
                  <a:pt x="290357" y="610460"/>
                </a:cubicBezTo>
                <a:cubicBezTo>
                  <a:pt x="278132" y="631577"/>
                  <a:pt x="224506" y="666169"/>
                  <a:pt x="210613" y="686453"/>
                </a:cubicBezTo>
                <a:cubicBezTo>
                  <a:pt x="224367" y="692288"/>
                  <a:pt x="283411" y="671727"/>
                  <a:pt x="297859" y="676450"/>
                </a:cubicBezTo>
                <a:cubicBezTo>
                  <a:pt x="276465" y="713266"/>
                  <a:pt x="207557" y="774810"/>
                  <a:pt x="180466" y="809264"/>
                </a:cubicBezTo>
                <a:cubicBezTo>
                  <a:pt x="196859" y="815377"/>
                  <a:pt x="288690" y="794955"/>
                  <a:pt x="306056" y="799956"/>
                </a:cubicBezTo>
                <a:cubicBezTo>
                  <a:pt x="282161" y="836494"/>
                  <a:pt x="180466" y="897761"/>
                  <a:pt x="150458" y="932076"/>
                </a:cubicBezTo>
                <a:cubicBezTo>
                  <a:pt x="169491" y="938466"/>
                  <a:pt x="225201" y="930269"/>
                  <a:pt x="245345" y="935410"/>
                </a:cubicBezTo>
                <a:cubicBezTo>
                  <a:pt x="218949" y="971670"/>
                  <a:pt x="153514" y="1020850"/>
                  <a:pt x="120450" y="1054887"/>
                </a:cubicBezTo>
                <a:cubicBezTo>
                  <a:pt x="142122" y="1061417"/>
                  <a:pt x="190052" y="1056971"/>
                  <a:pt x="213114" y="1062250"/>
                </a:cubicBezTo>
                <a:cubicBezTo>
                  <a:pt x="184356" y="1098371"/>
                  <a:pt x="126562" y="1143939"/>
                  <a:pt x="90303" y="1177837"/>
                </a:cubicBezTo>
                <a:cubicBezTo>
                  <a:pt x="114754" y="1184506"/>
                  <a:pt x="202972" y="1159499"/>
                  <a:pt x="228813" y="1164778"/>
                </a:cubicBezTo>
                <a:cubicBezTo>
                  <a:pt x="197554" y="1200760"/>
                  <a:pt x="99611" y="1266889"/>
                  <a:pt x="60294" y="1300649"/>
                </a:cubicBezTo>
                <a:cubicBezTo>
                  <a:pt x="87385" y="1307456"/>
                  <a:pt x="160322" y="1294536"/>
                  <a:pt x="189080" y="1299954"/>
                </a:cubicBezTo>
                <a:cubicBezTo>
                  <a:pt x="155320" y="1335797"/>
                  <a:pt x="72520" y="1389701"/>
                  <a:pt x="30147" y="1423460"/>
                </a:cubicBezTo>
                <a:cubicBezTo>
                  <a:pt x="59878" y="1430406"/>
                  <a:pt x="90719" y="1436519"/>
                  <a:pt x="122256" y="1442076"/>
                </a:cubicBezTo>
                <a:cubicBezTo>
                  <a:pt x="85996" y="1477919"/>
                  <a:pt x="45568" y="1512651"/>
                  <a:pt x="0" y="1546271"/>
                </a:cubicBezTo>
                <a:cubicBezTo>
                  <a:pt x="253125" y="1600870"/>
                  <a:pt x="574463" y="1612123"/>
                  <a:pt x="857735" y="1565027"/>
                </a:cubicBezTo>
                <a:cubicBezTo>
                  <a:pt x="820502" y="1528350"/>
                  <a:pt x="786882" y="1491117"/>
                  <a:pt x="756596" y="1453329"/>
                </a:cubicBezTo>
                <a:cubicBezTo>
                  <a:pt x="780491" y="1449995"/>
                  <a:pt x="804248" y="1446383"/>
                  <a:pt x="827727" y="1442215"/>
                </a:cubicBezTo>
                <a:cubicBezTo>
                  <a:pt x="792995" y="1405538"/>
                  <a:pt x="761736" y="1368167"/>
                  <a:pt x="733534" y="1330379"/>
                </a:cubicBezTo>
                <a:cubicBezTo>
                  <a:pt x="755068" y="1327184"/>
                  <a:pt x="776601" y="1323572"/>
                  <a:pt x="797718" y="1319404"/>
                </a:cubicBezTo>
                <a:cubicBezTo>
                  <a:pt x="765487" y="1282588"/>
                  <a:pt x="736591" y="1245217"/>
                  <a:pt x="710333" y="1207290"/>
                </a:cubicBezTo>
                <a:cubicBezTo>
                  <a:pt x="729644" y="1204094"/>
                  <a:pt x="748677" y="1200621"/>
                  <a:pt x="767571" y="1196592"/>
                </a:cubicBezTo>
                <a:cubicBezTo>
                  <a:pt x="737980" y="1159638"/>
                  <a:pt x="711306" y="1122128"/>
                  <a:pt x="687133" y="1084062"/>
                </a:cubicBezTo>
                <a:cubicBezTo>
                  <a:pt x="704082" y="1081005"/>
                  <a:pt x="720892" y="1077532"/>
                  <a:pt x="737424" y="1073781"/>
                </a:cubicBezTo>
                <a:cubicBezTo>
                  <a:pt x="710333" y="1036688"/>
                  <a:pt x="661987" y="976671"/>
                  <a:pt x="639897" y="938466"/>
                </a:cubicBezTo>
                <a:cubicBezTo>
                  <a:pt x="654485" y="935549"/>
                  <a:pt x="692967" y="954582"/>
                  <a:pt x="707277" y="950970"/>
                </a:cubicBezTo>
                <a:cubicBezTo>
                  <a:pt x="682687" y="913737"/>
                  <a:pt x="636702" y="855249"/>
                  <a:pt x="616697" y="816905"/>
                </a:cubicBezTo>
                <a:cubicBezTo>
                  <a:pt x="628922" y="814127"/>
                  <a:pt x="665182" y="831631"/>
                  <a:pt x="677269" y="828158"/>
                </a:cubicBezTo>
                <a:cubicBezTo>
                  <a:pt x="655179" y="790787"/>
                  <a:pt x="599470" y="730215"/>
                  <a:pt x="581548" y="691732"/>
                </a:cubicBezTo>
                <a:cubicBezTo>
                  <a:pt x="591551" y="689092"/>
                  <a:pt x="637397" y="708542"/>
                  <a:pt x="647122" y="705347"/>
                </a:cubicBezTo>
                <a:cubicBezTo>
                  <a:pt x="636146" y="684091"/>
                  <a:pt x="574880" y="624769"/>
                  <a:pt x="565016" y="603097"/>
                </a:cubicBezTo>
                <a:cubicBezTo>
                  <a:pt x="571962" y="600596"/>
                  <a:pt x="629756" y="635883"/>
                  <a:pt x="636702" y="632966"/>
                </a:cubicBezTo>
                <a:cubicBezTo>
                  <a:pt x="625171" y="603930"/>
                  <a:pt x="590300" y="555445"/>
                  <a:pt x="580159" y="525853"/>
                </a:cubicBezTo>
                <a:cubicBezTo>
                  <a:pt x="586411" y="523908"/>
                  <a:pt x="616558" y="540718"/>
                  <a:pt x="622670" y="538496"/>
                </a:cubicBezTo>
                <a:cubicBezTo>
                  <a:pt x="583632" y="453611"/>
                  <a:pt x="539592" y="373867"/>
                  <a:pt x="515419" y="284398"/>
                </a:cubicBezTo>
                <a:cubicBezTo>
                  <a:pt x="473463" y="96430"/>
                  <a:pt x="495413" y="192151"/>
                  <a:pt x="469573" y="10018"/>
                </a:cubicBezTo>
                <a:lnTo>
                  <a:pt x="469573" y="10018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9BF84D7-B7FE-7DFF-7B9C-6A9C98B802E9}"/>
              </a:ext>
            </a:extLst>
          </p:cNvPr>
          <p:cNvSpPr/>
          <p:nvPr/>
        </p:nvSpPr>
        <p:spPr>
          <a:xfrm>
            <a:off x="3850104" y="11947806"/>
            <a:ext cx="259515" cy="482805"/>
          </a:xfrm>
          <a:custGeom>
            <a:avLst/>
            <a:gdLst>
              <a:gd name="connsiteX0" fmla="*/ 141844 w 259515"/>
              <a:gd name="connsiteY0" fmla="*/ 3069 h 482805"/>
              <a:gd name="connsiteX1" fmla="*/ 133926 w 259515"/>
              <a:gd name="connsiteY1" fmla="*/ 7237 h 482805"/>
              <a:gd name="connsiteX2" fmla="*/ 118227 w 259515"/>
              <a:gd name="connsiteY2" fmla="*/ 77812 h 482805"/>
              <a:gd name="connsiteX3" fmla="*/ 70853 w 259515"/>
              <a:gd name="connsiteY3" fmla="*/ 157278 h 482805"/>
              <a:gd name="connsiteX4" fmla="*/ 97804 w 259515"/>
              <a:gd name="connsiteY4" fmla="*/ 146442 h 482805"/>
              <a:gd name="connsiteX5" fmla="*/ 66685 w 259515"/>
              <a:gd name="connsiteY5" fmla="*/ 184508 h 482805"/>
              <a:gd name="connsiteX6" fmla="*/ 87663 w 259515"/>
              <a:gd name="connsiteY6" fmla="*/ 184786 h 482805"/>
              <a:gd name="connsiteX7" fmla="*/ 63489 w 259515"/>
              <a:gd name="connsiteY7" fmla="*/ 207848 h 482805"/>
              <a:gd name="connsiteX8" fmla="*/ 89886 w 259515"/>
              <a:gd name="connsiteY8" fmla="*/ 204791 h 482805"/>
              <a:gd name="connsiteX9" fmla="*/ 54320 w 259515"/>
              <a:gd name="connsiteY9" fmla="*/ 244941 h 482805"/>
              <a:gd name="connsiteX10" fmla="*/ 92247 w 259515"/>
              <a:gd name="connsiteY10" fmla="*/ 242163 h 482805"/>
              <a:gd name="connsiteX11" fmla="*/ 45151 w 259515"/>
              <a:gd name="connsiteY11" fmla="*/ 282174 h 482805"/>
              <a:gd name="connsiteX12" fmla="*/ 73909 w 259515"/>
              <a:gd name="connsiteY12" fmla="*/ 283146 h 482805"/>
              <a:gd name="connsiteX13" fmla="*/ 36121 w 259515"/>
              <a:gd name="connsiteY13" fmla="*/ 319267 h 482805"/>
              <a:gd name="connsiteX14" fmla="*/ 64184 w 259515"/>
              <a:gd name="connsiteY14" fmla="*/ 321490 h 482805"/>
              <a:gd name="connsiteX15" fmla="*/ 27091 w 259515"/>
              <a:gd name="connsiteY15" fmla="*/ 356499 h 482805"/>
              <a:gd name="connsiteX16" fmla="*/ 69047 w 259515"/>
              <a:gd name="connsiteY16" fmla="*/ 352610 h 482805"/>
              <a:gd name="connsiteX17" fmla="*/ 18061 w 259515"/>
              <a:gd name="connsiteY17" fmla="*/ 393732 h 482805"/>
              <a:gd name="connsiteX18" fmla="*/ 57099 w 259515"/>
              <a:gd name="connsiteY18" fmla="*/ 393593 h 482805"/>
              <a:gd name="connsiteX19" fmla="*/ 9030 w 259515"/>
              <a:gd name="connsiteY19" fmla="*/ 430964 h 482805"/>
              <a:gd name="connsiteX20" fmla="*/ 36955 w 259515"/>
              <a:gd name="connsiteY20" fmla="*/ 436660 h 482805"/>
              <a:gd name="connsiteX21" fmla="*/ 0 w 259515"/>
              <a:gd name="connsiteY21" fmla="*/ 468197 h 482805"/>
              <a:gd name="connsiteX22" fmla="*/ 259515 w 259515"/>
              <a:gd name="connsiteY22" fmla="*/ 473893 h 482805"/>
              <a:gd name="connsiteX23" fmla="*/ 228952 w 259515"/>
              <a:gd name="connsiteY23" fmla="*/ 440133 h 482805"/>
              <a:gd name="connsiteX24" fmla="*/ 250485 w 259515"/>
              <a:gd name="connsiteY24" fmla="*/ 436799 h 482805"/>
              <a:gd name="connsiteX25" fmla="*/ 222005 w 259515"/>
              <a:gd name="connsiteY25" fmla="*/ 402901 h 482805"/>
              <a:gd name="connsiteX26" fmla="*/ 241455 w 259515"/>
              <a:gd name="connsiteY26" fmla="*/ 399567 h 482805"/>
              <a:gd name="connsiteX27" fmla="*/ 215059 w 259515"/>
              <a:gd name="connsiteY27" fmla="*/ 365669 h 482805"/>
              <a:gd name="connsiteX28" fmla="*/ 232425 w 259515"/>
              <a:gd name="connsiteY28" fmla="*/ 362473 h 482805"/>
              <a:gd name="connsiteX29" fmla="*/ 208112 w 259515"/>
              <a:gd name="connsiteY29" fmla="*/ 328436 h 482805"/>
              <a:gd name="connsiteX30" fmla="*/ 223395 w 259515"/>
              <a:gd name="connsiteY30" fmla="*/ 325241 h 482805"/>
              <a:gd name="connsiteX31" fmla="*/ 193942 w 259515"/>
              <a:gd name="connsiteY31" fmla="*/ 284257 h 482805"/>
              <a:gd name="connsiteX32" fmla="*/ 214364 w 259515"/>
              <a:gd name="connsiteY32" fmla="*/ 288008 h 482805"/>
              <a:gd name="connsiteX33" fmla="*/ 186996 w 259515"/>
              <a:gd name="connsiteY33" fmla="*/ 247442 h 482805"/>
              <a:gd name="connsiteX34" fmla="*/ 205334 w 259515"/>
              <a:gd name="connsiteY34" fmla="*/ 250915 h 482805"/>
              <a:gd name="connsiteX35" fmla="*/ 176437 w 259515"/>
              <a:gd name="connsiteY35" fmla="*/ 209654 h 482805"/>
              <a:gd name="connsiteX36" fmla="*/ 196304 w 259515"/>
              <a:gd name="connsiteY36" fmla="*/ 213821 h 482805"/>
              <a:gd name="connsiteX37" fmla="*/ 171436 w 259515"/>
              <a:gd name="connsiteY37" fmla="*/ 182841 h 482805"/>
              <a:gd name="connsiteX38" fmla="*/ 193108 w 259515"/>
              <a:gd name="connsiteY38" fmla="*/ 191871 h 482805"/>
              <a:gd name="connsiteX39" fmla="*/ 176020 w 259515"/>
              <a:gd name="connsiteY39" fmla="*/ 159501 h 482805"/>
              <a:gd name="connsiteX40" fmla="*/ 188940 w 259515"/>
              <a:gd name="connsiteY40" fmla="*/ 163391 h 482805"/>
              <a:gd name="connsiteX41" fmla="*/ 156432 w 259515"/>
              <a:gd name="connsiteY41" fmla="*/ 86564 h 482805"/>
              <a:gd name="connsiteX42" fmla="*/ 141844 w 259515"/>
              <a:gd name="connsiteY42" fmla="*/ 3069 h 482805"/>
              <a:gd name="connsiteX43" fmla="*/ 141844 w 259515"/>
              <a:gd name="connsiteY43" fmla="*/ 3069 h 482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59515" h="482805">
                <a:moveTo>
                  <a:pt x="141844" y="3069"/>
                </a:moveTo>
                <a:cubicBezTo>
                  <a:pt x="141289" y="-1376"/>
                  <a:pt x="135037" y="-1793"/>
                  <a:pt x="133926" y="7237"/>
                </a:cubicBezTo>
                <a:cubicBezTo>
                  <a:pt x="128229" y="52944"/>
                  <a:pt x="128229" y="47248"/>
                  <a:pt x="118227" y="77812"/>
                </a:cubicBezTo>
                <a:cubicBezTo>
                  <a:pt x="109474" y="108515"/>
                  <a:pt x="87246" y="130465"/>
                  <a:pt x="70853" y="157278"/>
                </a:cubicBezTo>
                <a:cubicBezTo>
                  <a:pt x="73215" y="158390"/>
                  <a:pt x="95304" y="145469"/>
                  <a:pt x="97804" y="146442"/>
                </a:cubicBezTo>
                <a:cubicBezTo>
                  <a:pt x="94192" y="154639"/>
                  <a:pt x="70853" y="176728"/>
                  <a:pt x="66685" y="184508"/>
                </a:cubicBezTo>
                <a:cubicBezTo>
                  <a:pt x="69602" y="186036"/>
                  <a:pt x="84745" y="183397"/>
                  <a:pt x="87663" y="184786"/>
                </a:cubicBezTo>
                <a:cubicBezTo>
                  <a:pt x="83912" y="191176"/>
                  <a:pt x="67796" y="201596"/>
                  <a:pt x="63489" y="207848"/>
                </a:cubicBezTo>
                <a:cubicBezTo>
                  <a:pt x="67657" y="209654"/>
                  <a:pt x="85579" y="203402"/>
                  <a:pt x="89886" y="204791"/>
                </a:cubicBezTo>
                <a:cubicBezTo>
                  <a:pt x="83356" y="215905"/>
                  <a:pt x="62517" y="234522"/>
                  <a:pt x="54320" y="244941"/>
                </a:cubicBezTo>
                <a:cubicBezTo>
                  <a:pt x="59322" y="246747"/>
                  <a:pt x="87107" y="240634"/>
                  <a:pt x="92247" y="242163"/>
                </a:cubicBezTo>
                <a:cubicBezTo>
                  <a:pt x="85023" y="253138"/>
                  <a:pt x="54320" y="271754"/>
                  <a:pt x="45151" y="282174"/>
                </a:cubicBezTo>
                <a:cubicBezTo>
                  <a:pt x="50847" y="284119"/>
                  <a:pt x="67796" y="281618"/>
                  <a:pt x="73909" y="283146"/>
                </a:cubicBezTo>
                <a:cubicBezTo>
                  <a:pt x="65990" y="294121"/>
                  <a:pt x="46124" y="308986"/>
                  <a:pt x="36121" y="319267"/>
                </a:cubicBezTo>
                <a:cubicBezTo>
                  <a:pt x="42650" y="321212"/>
                  <a:pt x="57238" y="319823"/>
                  <a:pt x="64184" y="321490"/>
                </a:cubicBezTo>
                <a:cubicBezTo>
                  <a:pt x="55432" y="332465"/>
                  <a:pt x="38066" y="346219"/>
                  <a:pt x="27091" y="356499"/>
                </a:cubicBezTo>
                <a:cubicBezTo>
                  <a:pt x="34454" y="358583"/>
                  <a:pt x="61128" y="350942"/>
                  <a:pt x="69047" y="352610"/>
                </a:cubicBezTo>
                <a:cubicBezTo>
                  <a:pt x="59600" y="363446"/>
                  <a:pt x="29869" y="383451"/>
                  <a:pt x="18061" y="393732"/>
                </a:cubicBezTo>
                <a:cubicBezTo>
                  <a:pt x="26257" y="395816"/>
                  <a:pt x="48347" y="391926"/>
                  <a:pt x="57099" y="393593"/>
                </a:cubicBezTo>
                <a:cubicBezTo>
                  <a:pt x="46818" y="404429"/>
                  <a:pt x="21811" y="420823"/>
                  <a:pt x="9030" y="430964"/>
                </a:cubicBezTo>
                <a:cubicBezTo>
                  <a:pt x="18061" y="433048"/>
                  <a:pt x="27369" y="434993"/>
                  <a:pt x="36955" y="436660"/>
                </a:cubicBezTo>
                <a:cubicBezTo>
                  <a:pt x="25979" y="447497"/>
                  <a:pt x="13754" y="458055"/>
                  <a:pt x="0" y="468197"/>
                </a:cubicBezTo>
                <a:cubicBezTo>
                  <a:pt x="76688" y="484729"/>
                  <a:pt x="173798" y="488063"/>
                  <a:pt x="259515" y="473893"/>
                </a:cubicBezTo>
                <a:cubicBezTo>
                  <a:pt x="248262" y="462779"/>
                  <a:pt x="238121" y="451525"/>
                  <a:pt x="228952" y="440133"/>
                </a:cubicBezTo>
                <a:cubicBezTo>
                  <a:pt x="236176" y="439161"/>
                  <a:pt x="243400" y="438050"/>
                  <a:pt x="250485" y="436799"/>
                </a:cubicBezTo>
                <a:cubicBezTo>
                  <a:pt x="239927" y="425685"/>
                  <a:pt x="230480" y="414432"/>
                  <a:pt x="222005" y="402901"/>
                </a:cubicBezTo>
                <a:cubicBezTo>
                  <a:pt x="228535" y="401929"/>
                  <a:pt x="235064" y="400817"/>
                  <a:pt x="241455" y="399567"/>
                </a:cubicBezTo>
                <a:cubicBezTo>
                  <a:pt x="231730" y="388453"/>
                  <a:pt x="222978" y="377061"/>
                  <a:pt x="215059" y="365669"/>
                </a:cubicBezTo>
                <a:cubicBezTo>
                  <a:pt x="220894" y="364696"/>
                  <a:pt x="226729" y="363585"/>
                  <a:pt x="232425" y="362473"/>
                </a:cubicBezTo>
                <a:cubicBezTo>
                  <a:pt x="223395" y="351359"/>
                  <a:pt x="215337" y="339967"/>
                  <a:pt x="208112" y="328436"/>
                </a:cubicBezTo>
                <a:cubicBezTo>
                  <a:pt x="213253" y="327464"/>
                  <a:pt x="218254" y="326491"/>
                  <a:pt x="223395" y="325241"/>
                </a:cubicBezTo>
                <a:cubicBezTo>
                  <a:pt x="215198" y="313988"/>
                  <a:pt x="200611" y="295788"/>
                  <a:pt x="193942" y="284257"/>
                </a:cubicBezTo>
                <a:cubicBezTo>
                  <a:pt x="198388" y="283424"/>
                  <a:pt x="210057" y="289120"/>
                  <a:pt x="214364" y="288008"/>
                </a:cubicBezTo>
                <a:cubicBezTo>
                  <a:pt x="206862" y="276755"/>
                  <a:pt x="192969" y="258973"/>
                  <a:pt x="186996" y="247442"/>
                </a:cubicBezTo>
                <a:cubicBezTo>
                  <a:pt x="190747" y="246608"/>
                  <a:pt x="201722" y="251887"/>
                  <a:pt x="205334" y="250915"/>
                </a:cubicBezTo>
                <a:cubicBezTo>
                  <a:pt x="198666" y="239662"/>
                  <a:pt x="181716" y="221324"/>
                  <a:pt x="176437" y="209654"/>
                </a:cubicBezTo>
                <a:cubicBezTo>
                  <a:pt x="179494" y="208820"/>
                  <a:pt x="193386" y="214794"/>
                  <a:pt x="196304" y="213821"/>
                </a:cubicBezTo>
                <a:cubicBezTo>
                  <a:pt x="192969" y="207431"/>
                  <a:pt x="174492" y="189370"/>
                  <a:pt x="171436" y="182841"/>
                </a:cubicBezTo>
                <a:cubicBezTo>
                  <a:pt x="173520" y="182007"/>
                  <a:pt x="191025" y="192705"/>
                  <a:pt x="193108" y="191871"/>
                </a:cubicBezTo>
                <a:cubicBezTo>
                  <a:pt x="189635" y="183119"/>
                  <a:pt x="179077" y="168392"/>
                  <a:pt x="176020" y="159501"/>
                </a:cubicBezTo>
                <a:cubicBezTo>
                  <a:pt x="177965" y="158945"/>
                  <a:pt x="186996" y="163947"/>
                  <a:pt x="188940" y="163391"/>
                </a:cubicBezTo>
                <a:cubicBezTo>
                  <a:pt x="177132" y="137690"/>
                  <a:pt x="163795" y="113516"/>
                  <a:pt x="156432" y="86564"/>
                </a:cubicBezTo>
                <a:cubicBezTo>
                  <a:pt x="142956" y="29327"/>
                  <a:pt x="149624" y="58223"/>
                  <a:pt x="141844" y="3069"/>
                </a:cubicBezTo>
                <a:lnTo>
                  <a:pt x="141844" y="3069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A445F011-A813-AAE2-5742-DC25EEE534F6}"/>
              </a:ext>
            </a:extLst>
          </p:cNvPr>
          <p:cNvSpPr/>
          <p:nvPr/>
        </p:nvSpPr>
        <p:spPr>
          <a:xfrm>
            <a:off x="4088986" y="12043891"/>
            <a:ext cx="132397" cy="246314"/>
          </a:xfrm>
          <a:custGeom>
            <a:avLst/>
            <a:gdLst>
              <a:gd name="connsiteX0" fmla="*/ 72520 w 132397"/>
              <a:gd name="connsiteY0" fmla="*/ 1557 h 246314"/>
              <a:gd name="connsiteX1" fmla="*/ 68491 w 132397"/>
              <a:gd name="connsiteY1" fmla="*/ 3641 h 246314"/>
              <a:gd name="connsiteX2" fmla="*/ 60433 w 132397"/>
              <a:gd name="connsiteY2" fmla="*/ 39623 h 246314"/>
              <a:gd name="connsiteX3" fmla="*/ 36260 w 132397"/>
              <a:gd name="connsiteY3" fmla="*/ 80189 h 246314"/>
              <a:gd name="connsiteX4" fmla="*/ 50014 w 132397"/>
              <a:gd name="connsiteY4" fmla="*/ 74632 h 246314"/>
              <a:gd name="connsiteX5" fmla="*/ 34176 w 132397"/>
              <a:gd name="connsiteY5" fmla="*/ 94082 h 246314"/>
              <a:gd name="connsiteX6" fmla="*/ 44873 w 132397"/>
              <a:gd name="connsiteY6" fmla="*/ 94221 h 246314"/>
              <a:gd name="connsiteX7" fmla="*/ 32509 w 132397"/>
              <a:gd name="connsiteY7" fmla="*/ 106030 h 246314"/>
              <a:gd name="connsiteX8" fmla="*/ 45985 w 132397"/>
              <a:gd name="connsiteY8" fmla="*/ 104502 h 246314"/>
              <a:gd name="connsiteX9" fmla="*/ 27924 w 132397"/>
              <a:gd name="connsiteY9" fmla="*/ 125063 h 246314"/>
              <a:gd name="connsiteX10" fmla="*/ 47374 w 132397"/>
              <a:gd name="connsiteY10" fmla="*/ 123673 h 246314"/>
              <a:gd name="connsiteX11" fmla="*/ 23340 w 132397"/>
              <a:gd name="connsiteY11" fmla="*/ 144096 h 246314"/>
              <a:gd name="connsiteX12" fmla="*/ 37927 w 132397"/>
              <a:gd name="connsiteY12" fmla="*/ 144651 h 246314"/>
              <a:gd name="connsiteX13" fmla="*/ 18616 w 132397"/>
              <a:gd name="connsiteY13" fmla="*/ 163129 h 246314"/>
              <a:gd name="connsiteX14" fmla="*/ 32926 w 132397"/>
              <a:gd name="connsiteY14" fmla="*/ 164240 h 246314"/>
              <a:gd name="connsiteX15" fmla="*/ 14032 w 132397"/>
              <a:gd name="connsiteY15" fmla="*/ 182023 h 246314"/>
              <a:gd name="connsiteX16" fmla="*/ 35426 w 132397"/>
              <a:gd name="connsiteY16" fmla="*/ 179939 h 246314"/>
              <a:gd name="connsiteX17" fmla="*/ 9447 w 132397"/>
              <a:gd name="connsiteY17" fmla="*/ 200917 h 246314"/>
              <a:gd name="connsiteX18" fmla="*/ 29314 w 132397"/>
              <a:gd name="connsiteY18" fmla="*/ 200778 h 246314"/>
              <a:gd name="connsiteX19" fmla="*/ 4723 w 132397"/>
              <a:gd name="connsiteY19" fmla="*/ 219811 h 246314"/>
              <a:gd name="connsiteX20" fmla="*/ 18894 w 132397"/>
              <a:gd name="connsiteY20" fmla="*/ 222728 h 246314"/>
              <a:gd name="connsiteX21" fmla="*/ 0 w 132397"/>
              <a:gd name="connsiteY21" fmla="*/ 238844 h 246314"/>
              <a:gd name="connsiteX22" fmla="*/ 132397 w 132397"/>
              <a:gd name="connsiteY22" fmla="*/ 241761 h 246314"/>
              <a:gd name="connsiteX23" fmla="*/ 116838 w 132397"/>
              <a:gd name="connsiteY23" fmla="*/ 224534 h 246314"/>
              <a:gd name="connsiteX24" fmla="*/ 127813 w 132397"/>
              <a:gd name="connsiteY24" fmla="*/ 222867 h 246314"/>
              <a:gd name="connsiteX25" fmla="*/ 113225 w 132397"/>
              <a:gd name="connsiteY25" fmla="*/ 205640 h 246314"/>
              <a:gd name="connsiteX26" fmla="*/ 123089 w 132397"/>
              <a:gd name="connsiteY26" fmla="*/ 203973 h 246314"/>
              <a:gd name="connsiteX27" fmla="*/ 109613 w 132397"/>
              <a:gd name="connsiteY27" fmla="*/ 186607 h 246314"/>
              <a:gd name="connsiteX28" fmla="*/ 118505 w 132397"/>
              <a:gd name="connsiteY28" fmla="*/ 184940 h 246314"/>
              <a:gd name="connsiteX29" fmla="*/ 106140 w 132397"/>
              <a:gd name="connsiteY29" fmla="*/ 167574 h 246314"/>
              <a:gd name="connsiteX30" fmla="*/ 113920 w 132397"/>
              <a:gd name="connsiteY30" fmla="*/ 166046 h 246314"/>
              <a:gd name="connsiteX31" fmla="*/ 98916 w 132397"/>
              <a:gd name="connsiteY31" fmla="*/ 145207 h 246314"/>
              <a:gd name="connsiteX32" fmla="*/ 109335 w 132397"/>
              <a:gd name="connsiteY32" fmla="*/ 147152 h 246314"/>
              <a:gd name="connsiteX33" fmla="*/ 95304 w 132397"/>
              <a:gd name="connsiteY33" fmla="*/ 126452 h 246314"/>
              <a:gd name="connsiteX34" fmla="*/ 104612 w 132397"/>
              <a:gd name="connsiteY34" fmla="*/ 128258 h 246314"/>
              <a:gd name="connsiteX35" fmla="*/ 89886 w 132397"/>
              <a:gd name="connsiteY35" fmla="*/ 107141 h 246314"/>
              <a:gd name="connsiteX36" fmla="*/ 100027 w 132397"/>
              <a:gd name="connsiteY36" fmla="*/ 109225 h 246314"/>
              <a:gd name="connsiteX37" fmla="*/ 87385 w 132397"/>
              <a:gd name="connsiteY37" fmla="*/ 93387 h 246314"/>
              <a:gd name="connsiteX38" fmla="*/ 98499 w 132397"/>
              <a:gd name="connsiteY38" fmla="*/ 97972 h 246314"/>
              <a:gd name="connsiteX39" fmla="*/ 89747 w 132397"/>
              <a:gd name="connsiteY39" fmla="*/ 81440 h 246314"/>
              <a:gd name="connsiteX40" fmla="*/ 96276 w 132397"/>
              <a:gd name="connsiteY40" fmla="*/ 83385 h 246314"/>
              <a:gd name="connsiteX41" fmla="*/ 79744 w 132397"/>
              <a:gd name="connsiteY41" fmla="*/ 44207 h 246314"/>
              <a:gd name="connsiteX42" fmla="*/ 72520 w 132397"/>
              <a:gd name="connsiteY42" fmla="*/ 1557 h 246314"/>
              <a:gd name="connsiteX43" fmla="*/ 72520 w 132397"/>
              <a:gd name="connsiteY43" fmla="*/ 1557 h 246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32397" h="246314">
                <a:moveTo>
                  <a:pt x="72520" y="1557"/>
                </a:moveTo>
                <a:cubicBezTo>
                  <a:pt x="72242" y="-666"/>
                  <a:pt x="69047" y="-944"/>
                  <a:pt x="68491" y="3641"/>
                </a:cubicBezTo>
                <a:cubicBezTo>
                  <a:pt x="65574" y="26980"/>
                  <a:pt x="65574" y="24063"/>
                  <a:pt x="60433" y="39623"/>
                </a:cubicBezTo>
                <a:cubicBezTo>
                  <a:pt x="55988" y="55321"/>
                  <a:pt x="44595" y="66574"/>
                  <a:pt x="36260" y="80189"/>
                </a:cubicBezTo>
                <a:cubicBezTo>
                  <a:pt x="37510" y="80745"/>
                  <a:pt x="48763" y="74076"/>
                  <a:pt x="50014" y="74632"/>
                </a:cubicBezTo>
                <a:cubicBezTo>
                  <a:pt x="48208" y="78800"/>
                  <a:pt x="36260" y="90053"/>
                  <a:pt x="34176" y="94082"/>
                </a:cubicBezTo>
                <a:cubicBezTo>
                  <a:pt x="35565" y="94916"/>
                  <a:pt x="43345" y="93526"/>
                  <a:pt x="44873" y="94221"/>
                </a:cubicBezTo>
                <a:cubicBezTo>
                  <a:pt x="42928" y="97416"/>
                  <a:pt x="34732" y="102834"/>
                  <a:pt x="32509" y="106030"/>
                </a:cubicBezTo>
                <a:cubicBezTo>
                  <a:pt x="34593" y="106863"/>
                  <a:pt x="43762" y="103807"/>
                  <a:pt x="45985" y="104502"/>
                </a:cubicBezTo>
                <a:cubicBezTo>
                  <a:pt x="42650" y="110197"/>
                  <a:pt x="32092" y="119644"/>
                  <a:pt x="27924" y="125063"/>
                </a:cubicBezTo>
                <a:cubicBezTo>
                  <a:pt x="30425" y="126035"/>
                  <a:pt x="44595" y="122840"/>
                  <a:pt x="47374" y="123673"/>
                </a:cubicBezTo>
                <a:cubicBezTo>
                  <a:pt x="43623" y="129369"/>
                  <a:pt x="27924" y="138816"/>
                  <a:pt x="23340" y="144096"/>
                </a:cubicBezTo>
                <a:cubicBezTo>
                  <a:pt x="26257" y="145068"/>
                  <a:pt x="34871" y="143818"/>
                  <a:pt x="37927" y="144651"/>
                </a:cubicBezTo>
                <a:cubicBezTo>
                  <a:pt x="33898" y="150208"/>
                  <a:pt x="23756" y="157849"/>
                  <a:pt x="18616" y="163129"/>
                </a:cubicBezTo>
                <a:cubicBezTo>
                  <a:pt x="21950" y="164101"/>
                  <a:pt x="29314" y="163406"/>
                  <a:pt x="32926" y="164240"/>
                </a:cubicBezTo>
                <a:cubicBezTo>
                  <a:pt x="28480" y="169797"/>
                  <a:pt x="19589" y="176882"/>
                  <a:pt x="14032" y="182023"/>
                </a:cubicBezTo>
                <a:cubicBezTo>
                  <a:pt x="17783" y="182995"/>
                  <a:pt x="31397" y="179244"/>
                  <a:pt x="35426" y="179939"/>
                </a:cubicBezTo>
                <a:cubicBezTo>
                  <a:pt x="30564" y="185496"/>
                  <a:pt x="15421" y="195638"/>
                  <a:pt x="9447" y="200917"/>
                </a:cubicBezTo>
                <a:cubicBezTo>
                  <a:pt x="13615" y="202028"/>
                  <a:pt x="24868" y="199944"/>
                  <a:pt x="29314" y="200778"/>
                </a:cubicBezTo>
                <a:cubicBezTo>
                  <a:pt x="24034" y="206335"/>
                  <a:pt x="11253" y="214671"/>
                  <a:pt x="4723" y="219811"/>
                </a:cubicBezTo>
                <a:cubicBezTo>
                  <a:pt x="9308" y="220922"/>
                  <a:pt x="14032" y="221895"/>
                  <a:pt x="18894" y="222728"/>
                </a:cubicBezTo>
                <a:cubicBezTo>
                  <a:pt x="13337" y="228285"/>
                  <a:pt x="7085" y="233565"/>
                  <a:pt x="0" y="238844"/>
                </a:cubicBezTo>
                <a:cubicBezTo>
                  <a:pt x="39038" y="247318"/>
                  <a:pt x="88774" y="248986"/>
                  <a:pt x="132397" y="241761"/>
                </a:cubicBezTo>
                <a:cubicBezTo>
                  <a:pt x="126701" y="236065"/>
                  <a:pt x="121422" y="230369"/>
                  <a:pt x="116838" y="224534"/>
                </a:cubicBezTo>
                <a:cubicBezTo>
                  <a:pt x="120588" y="223979"/>
                  <a:pt x="124201" y="223423"/>
                  <a:pt x="127813" y="222867"/>
                </a:cubicBezTo>
                <a:cubicBezTo>
                  <a:pt x="122395" y="217171"/>
                  <a:pt x="117671" y="211475"/>
                  <a:pt x="113225" y="205640"/>
                </a:cubicBezTo>
                <a:cubicBezTo>
                  <a:pt x="116560" y="205085"/>
                  <a:pt x="119894" y="204529"/>
                  <a:pt x="123089" y="203973"/>
                </a:cubicBezTo>
                <a:cubicBezTo>
                  <a:pt x="118088" y="198277"/>
                  <a:pt x="113642" y="192442"/>
                  <a:pt x="109613" y="186607"/>
                </a:cubicBezTo>
                <a:cubicBezTo>
                  <a:pt x="112531" y="186191"/>
                  <a:pt x="115587" y="185635"/>
                  <a:pt x="118505" y="184940"/>
                </a:cubicBezTo>
                <a:cubicBezTo>
                  <a:pt x="113920" y="179244"/>
                  <a:pt x="109752" y="173409"/>
                  <a:pt x="106140" y="167574"/>
                </a:cubicBezTo>
                <a:cubicBezTo>
                  <a:pt x="108780" y="167158"/>
                  <a:pt x="111280" y="166602"/>
                  <a:pt x="113920" y="166046"/>
                </a:cubicBezTo>
                <a:cubicBezTo>
                  <a:pt x="109752" y="160350"/>
                  <a:pt x="102250" y="151042"/>
                  <a:pt x="98916" y="145207"/>
                </a:cubicBezTo>
                <a:cubicBezTo>
                  <a:pt x="101139" y="144790"/>
                  <a:pt x="107113" y="147708"/>
                  <a:pt x="109335" y="147152"/>
                </a:cubicBezTo>
                <a:cubicBezTo>
                  <a:pt x="105584" y="141456"/>
                  <a:pt x="98360" y="132426"/>
                  <a:pt x="95304" y="126452"/>
                </a:cubicBezTo>
                <a:cubicBezTo>
                  <a:pt x="97249" y="126035"/>
                  <a:pt x="102806" y="128675"/>
                  <a:pt x="104612" y="128258"/>
                </a:cubicBezTo>
                <a:cubicBezTo>
                  <a:pt x="101278" y="122423"/>
                  <a:pt x="92664" y="113115"/>
                  <a:pt x="89886" y="107141"/>
                </a:cubicBezTo>
                <a:cubicBezTo>
                  <a:pt x="91414" y="106724"/>
                  <a:pt x="98499" y="109781"/>
                  <a:pt x="100027" y="109225"/>
                </a:cubicBezTo>
                <a:cubicBezTo>
                  <a:pt x="98360" y="105891"/>
                  <a:pt x="88913" y="96722"/>
                  <a:pt x="87385" y="93387"/>
                </a:cubicBezTo>
                <a:cubicBezTo>
                  <a:pt x="88496" y="92971"/>
                  <a:pt x="97388" y="98389"/>
                  <a:pt x="98499" y="97972"/>
                </a:cubicBezTo>
                <a:cubicBezTo>
                  <a:pt x="96693" y="93526"/>
                  <a:pt x="91275" y="86024"/>
                  <a:pt x="89747" y="81440"/>
                </a:cubicBezTo>
                <a:cubicBezTo>
                  <a:pt x="90719" y="81162"/>
                  <a:pt x="95304" y="83801"/>
                  <a:pt x="96276" y="83385"/>
                </a:cubicBezTo>
                <a:cubicBezTo>
                  <a:pt x="90302" y="70326"/>
                  <a:pt x="83495" y="57961"/>
                  <a:pt x="79744" y="44207"/>
                </a:cubicBezTo>
                <a:cubicBezTo>
                  <a:pt x="73214" y="14894"/>
                  <a:pt x="76549" y="29620"/>
                  <a:pt x="72520" y="1557"/>
                </a:cubicBezTo>
                <a:lnTo>
                  <a:pt x="72520" y="1557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06B3F499-6AB0-FAAD-A2FD-53B1C2998B2A}"/>
              </a:ext>
            </a:extLst>
          </p:cNvPr>
          <p:cNvSpPr/>
          <p:nvPr/>
        </p:nvSpPr>
        <p:spPr>
          <a:xfrm>
            <a:off x="2764238" y="11730466"/>
            <a:ext cx="733812" cy="1364156"/>
          </a:xfrm>
          <a:custGeom>
            <a:avLst/>
            <a:gdLst>
              <a:gd name="connsiteX0" fmla="*/ 401638 w 733812"/>
              <a:gd name="connsiteY0" fmla="*/ 8607 h 1364156"/>
              <a:gd name="connsiteX1" fmla="*/ 379409 w 733812"/>
              <a:gd name="connsiteY1" fmla="*/ 20415 h 1364156"/>
              <a:gd name="connsiteX2" fmla="*/ 334814 w 733812"/>
              <a:gd name="connsiteY2" fmla="*/ 220053 h 1364156"/>
              <a:gd name="connsiteX3" fmla="*/ 200888 w 733812"/>
              <a:gd name="connsiteY3" fmla="*/ 444559 h 1364156"/>
              <a:gd name="connsiteX4" fmla="*/ 276881 w 733812"/>
              <a:gd name="connsiteY4" fmla="*/ 413856 h 1364156"/>
              <a:gd name="connsiteX5" fmla="*/ 188941 w 733812"/>
              <a:gd name="connsiteY5" fmla="*/ 521525 h 1364156"/>
              <a:gd name="connsiteX6" fmla="*/ 248262 w 733812"/>
              <a:gd name="connsiteY6" fmla="*/ 522219 h 1364156"/>
              <a:gd name="connsiteX7" fmla="*/ 180049 w 733812"/>
              <a:gd name="connsiteY7" fmla="*/ 587237 h 1364156"/>
              <a:gd name="connsiteX8" fmla="*/ 254653 w 733812"/>
              <a:gd name="connsiteY8" fmla="*/ 578763 h 1364156"/>
              <a:gd name="connsiteX9" fmla="*/ 154209 w 733812"/>
              <a:gd name="connsiteY9" fmla="*/ 692405 h 1364156"/>
              <a:gd name="connsiteX10" fmla="*/ 261599 w 733812"/>
              <a:gd name="connsiteY10" fmla="*/ 684486 h 1364156"/>
              <a:gd name="connsiteX11" fmla="*/ 128507 w 733812"/>
              <a:gd name="connsiteY11" fmla="*/ 797434 h 1364156"/>
              <a:gd name="connsiteX12" fmla="*/ 209641 w 733812"/>
              <a:gd name="connsiteY12" fmla="*/ 800351 h 1364156"/>
              <a:gd name="connsiteX13" fmla="*/ 102806 w 733812"/>
              <a:gd name="connsiteY13" fmla="*/ 902462 h 1364156"/>
              <a:gd name="connsiteX14" fmla="*/ 182133 w 733812"/>
              <a:gd name="connsiteY14" fmla="*/ 908714 h 1364156"/>
              <a:gd name="connsiteX15" fmla="*/ 77104 w 733812"/>
              <a:gd name="connsiteY15" fmla="*/ 1007491 h 1364156"/>
              <a:gd name="connsiteX16" fmla="*/ 195609 w 733812"/>
              <a:gd name="connsiteY16" fmla="*/ 996377 h 1364156"/>
              <a:gd name="connsiteX17" fmla="*/ 51403 w 733812"/>
              <a:gd name="connsiteY17" fmla="*/ 1112659 h 1364156"/>
              <a:gd name="connsiteX18" fmla="*/ 161572 w 733812"/>
              <a:gd name="connsiteY18" fmla="*/ 1112103 h 1364156"/>
              <a:gd name="connsiteX19" fmla="*/ 25701 w 733812"/>
              <a:gd name="connsiteY19" fmla="*/ 1217688 h 1364156"/>
              <a:gd name="connsiteX20" fmla="*/ 104612 w 733812"/>
              <a:gd name="connsiteY20" fmla="*/ 1233664 h 1364156"/>
              <a:gd name="connsiteX21" fmla="*/ 0 w 733812"/>
              <a:gd name="connsiteY21" fmla="*/ 1322855 h 1364156"/>
              <a:gd name="connsiteX22" fmla="*/ 733812 w 733812"/>
              <a:gd name="connsiteY22" fmla="*/ 1338832 h 1364156"/>
              <a:gd name="connsiteX23" fmla="*/ 647260 w 733812"/>
              <a:gd name="connsiteY23" fmla="*/ 1243250 h 1364156"/>
              <a:gd name="connsiteX24" fmla="*/ 708111 w 733812"/>
              <a:gd name="connsiteY24" fmla="*/ 1233664 h 1364156"/>
              <a:gd name="connsiteX25" fmla="*/ 627533 w 733812"/>
              <a:gd name="connsiteY25" fmla="*/ 1137944 h 1364156"/>
              <a:gd name="connsiteX26" fmla="*/ 682409 w 733812"/>
              <a:gd name="connsiteY26" fmla="*/ 1128635 h 1364156"/>
              <a:gd name="connsiteX27" fmla="*/ 607666 w 733812"/>
              <a:gd name="connsiteY27" fmla="*/ 1032637 h 1364156"/>
              <a:gd name="connsiteX28" fmla="*/ 656708 w 733812"/>
              <a:gd name="connsiteY28" fmla="*/ 1023468 h 1364156"/>
              <a:gd name="connsiteX29" fmla="*/ 587939 w 733812"/>
              <a:gd name="connsiteY29" fmla="*/ 927191 h 1364156"/>
              <a:gd name="connsiteX30" fmla="*/ 631006 w 733812"/>
              <a:gd name="connsiteY30" fmla="*/ 918300 h 1364156"/>
              <a:gd name="connsiteX31" fmla="*/ 547650 w 733812"/>
              <a:gd name="connsiteY31" fmla="*/ 802574 h 1364156"/>
              <a:gd name="connsiteX32" fmla="*/ 605305 w 733812"/>
              <a:gd name="connsiteY32" fmla="*/ 813271 h 1364156"/>
              <a:gd name="connsiteX33" fmla="*/ 527783 w 733812"/>
              <a:gd name="connsiteY33" fmla="*/ 698518 h 1364156"/>
              <a:gd name="connsiteX34" fmla="*/ 579603 w 733812"/>
              <a:gd name="connsiteY34" fmla="*/ 708243 h 1364156"/>
              <a:gd name="connsiteX35" fmla="*/ 497775 w 733812"/>
              <a:gd name="connsiteY35" fmla="*/ 591405 h 1364156"/>
              <a:gd name="connsiteX36" fmla="*/ 553902 w 733812"/>
              <a:gd name="connsiteY36" fmla="*/ 603075 h 1364156"/>
              <a:gd name="connsiteX37" fmla="*/ 483744 w 733812"/>
              <a:gd name="connsiteY37" fmla="*/ 515690 h 1364156"/>
              <a:gd name="connsiteX38" fmla="*/ 545010 w 733812"/>
              <a:gd name="connsiteY38" fmla="*/ 541253 h 1364156"/>
              <a:gd name="connsiteX39" fmla="*/ 496664 w 733812"/>
              <a:gd name="connsiteY39" fmla="*/ 449561 h 1364156"/>
              <a:gd name="connsiteX40" fmla="*/ 533063 w 733812"/>
              <a:gd name="connsiteY40" fmla="*/ 460397 h 1364156"/>
              <a:gd name="connsiteX41" fmla="*/ 441371 w 733812"/>
              <a:gd name="connsiteY41" fmla="*/ 242976 h 1364156"/>
              <a:gd name="connsiteX42" fmla="*/ 401638 w 733812"/>
              <a:gd name="connsiteY42" fmla="*/ 8607 h 1364156"/>
              <a:gd name="connsiteX43" fmla="*/ 401638 w 733812"/>
              <a:gd name="connsiteY43" fmla="*/ 8607 h 1364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33812" h="1364156">
                <a:moveTo>
                  <a:pt x="401638" y="8607"/>
                </a:moveTo>
                <a:cubicBezTo>
                  <a:pt x="399971" y="-3897"/>
                  <a:pt x="382466" y="-5008"/>
                  <a:pt x="379409" y="20415"/>
                </a:cubicBezTo>
                <a:cubicBezTo>
                  <a:pt x="363433" y="149617"/>
                  <a:pt x="363155" y="133641"/>
                  <a:pt x="334814" y="220053"/>
                </a:cubicBezTo>
                <a:cubicBezTo>
                  <a:pt x="310085" y="306744"/>
                  <a:pt x="247151" y="368983"/>
                  <a:pt x="200888" y="444559"/>
                </a:cubicBezTo>
                <a:cubicBezTo>
                  <a:pt x="207696" y="447755"/>
                  <a:pt x="269796" y="410939"/>
                  <a:pt x="276881" y="413856"/>
                </a:cubicBezTo>
                <a:cubicBezTo>
                  <a:pt x="266740" y="436918"/>
                  <a:pt x="200611" y="499435"/>
                  <a:pt x="188941" y="521525"/>
                </a:cubicBezTo>
                <a:cubicBezTo>
                  <a:pt x="196998" y="525970"/>
                  <a:pt x="239927" y="518330"/>
                  <a:pt x="248262" y="522219"/>
                </a:cubicBezTo>
                <a:cubicBezTo>
                  <a:pt x="237843" y="540280"/>
                  <a:pt x="191997" y="569871"/>
                  <a:pt x="180049" y="587237"/>
                </a:cubicBezTo>
                <a:cubicBezTo>
                  <a:pt x="191719" y="592239"/>
                  <a:pt x="242289" y="574595"/>
                  <a:pt x="254653" y="578763"/>
                </a:cubicBezTo>
                <a:cubicBezTo>
                  <a:pt x="236315" y="610160"/>
                  <a:pt x="177410" y="662952"/>
                  <a:pt x="154209" y="692405"/>
                </a:cubicBezTo>
                <a:cubicBezTo>
                  <a:pt x="168241" y="697684"/>
                  <a:pt x="246873" y="680179"/>
                  <a:pt x="261599" y="684486"/>
                </a:cubicBezTo>
                <a:cubicBezTo>
                  <a:pt x="241177" y="715745"/>
                  <a:pt x="154209" y="768259"/>
                  <a:pt x="128507" y="797434"/>
                </a:cubicBezTo>
                <a:cubicBezTo>
                  <a:pt x="144762" y="802852"/>
                  <a:pt x="192414" y="795905"/>
                  <a:pt x="209641" y="800351"/>
                </a:cubicBezTo>
                <a:cubicBezTo>
                  <a:pt x="187135" y="831471"/>
                  <a:pt x="131147" y="873427"/>
                  <a:pt x="102806" y="902462"/>
                </a:cubicBezTo>
                <a:cubicBezTo>
                  <a:pt x="121422" y="908019"/>
                  <a:pt x="162406" y="904268"/>
                  <a:pt x="182133" y="908714"/>
                </a:cubicBezTo>
                <a:cubicBezTo>
                  <a:pt x="157404" y="939695"/>
                  <a:pt x="108085" y="978594"/>
                  <a:pt x="77104" y="1007491"/>
                </a:cubicBezTo>
                <a:cubicBezTo>
                  <a:pt x="97944" y="1013187"/>
                  <a:pt x="173520" y="991792"/>
                  <a:pt x="195609" y="996377"/>
                </a:cubicBezTo>
                <a:cubicBezTo>
                  <a:pt x="168796" y="1027219"/>
                  <a:pt x="85023" y="1083762"/>
                  <a:pt x="51403" y="1112659"/>
                </a:cubicBezTo>
                <a:cubicBezTo>
                  <a:pt x="74604" y="1118494"/>
                  <a:pt x="136982" y="1107519"/>
                  <a:pt x="161572" y="1112103"/>
                </a:cubicBezTo>
                <a:cubicBezTo>
                  <a:pt x="132675" y="1142806"/>
                  <a:pt x="61961" y="1188930"/>
                  <a:pt x="25701" y="1217688"/>
                </a:cubicBezTo>
                <a:cubicBezTo>
                  <a:pt x="51125" y="1223661"/>
                  <a:pt x="77521" y="1228941"/>
                  <a:pt x="104612" y="1233664"/>
                </a:cubicBezTo>
                <a:cubicBezTo>
                  <a:pt x="73631" y="1264228"/>
                  <a:pt x="38900" y="1294097"/>
                  <a:pt x="0" y="1322855"/>
                </a:cubicBezTo>
                <a:cubicBezTo>
                  <a:pt x="216587" y="1369535"/>
                  <a:pt x="491524" y="1379121"/>
                  <a:pt x="733812" y="1338832"/>
                </a:cubicBezTo>
                <a:cubicBezTo>
                  <a:pt x="701859" y="1307434"/>
                  <a:pt x="673240" y="1275620"/>
                  <a:pt x="647260" y="1243250"/>
                </a:cubicBezTo>
                <a:cubicBezTo>
                  <a:pt x="667683" y="1240472"/>
                  <a:pt x="687966" y="1237276"/>
                  <a:pt x="708111" y="1233664"/>
                </a:cubicBezTo>
                <a:cubicBezTo>
                  <a:pt x="678380" y="1202267"/>
                  <a:pt x="651706" y="1170314"/>
                  <a:pt x="627533" y="1137944"/>
                </a:cubicBezTo>
                <a:cubicBezTo>
                  <a:pt x="646010" y="1135165"/>
                  <a:pt x="664349" y="1132109"/>
                  <a:pt x="682409" y="1128635"/>
                </a:cubicBezTo>
                <a:cubicBezTo>
                  <a:pt x="654902" y="1097099"/>
                  <a:pt x="630173" y="1065146"/>
                  <a:pt x="607666" y="1032637"/>
                </a:cubicBezTo>
                <a:cubicBezTo>
                  <a:pt x="624199" y="1029997"/>
                  <a:pt x="640453" y="1026941"/>
                  <a:pt x="656708" y="1023468"/>
                </a:cubicBezTo>
                <a:cubicBezTo>
                  <a:pt x="631284" y="991931"/>
                  <a:pt x="608500" y="959700"/>
                  <a:pt x="587939" y="927191"/>
                </a:cubicBezTo>
                <a:cubicBezTo>
                  <a:pt x="602387" y="924552"/>
                  <a:pt x="616835" y="921634"/>
                  <a:pt x="631006" y="918300"/>
                </a:cubicBezTo>
                <a:cubicBezTo>
                  <a:pt x="607805" y="886625"/>
                  <a:pt x="566405" y="835222"/>
                  <a:pt x="547650" y="802574"/>
                </a:cubicBezTo>
                <a:cubicBezTo>
                  <a:pt x="560153" y="800073"/>
                  <a:pt x="593079" y="816467"/>
                  <a:pt x="605305" y="813271"/>
                </a:cubicBezTo>
                <a:cubicBezTo>
                  <a:pt x="584327" y="781457"/>
                  <a:pt x="544871" y="731305"/>
                  <a:pt x="527783" y="698518"/>
                </a:cubicBezTo>
                <a:cubicBezTo>
                  <a:pt x="538342" y="696156"/>
                  <a:pt x="569184" y="711160"/>
                  <a:pt x="579603" y="708243"/>
                </a:cubicBezTo>
                <a:cubicBezTo>
                  <a:pt x="560709" y="676289"/>
                  <a:pt x="513057" y="624470"/>
                  <a:pt x="497775" y="591405"/>
                </a:cubicBezTo>
                <a:cubicBezTo>
                  <a:pt x="506250" y="589182"/>
                  <a:pt x="545566" y="605853"/>
                  <a:pt x="553902" y="603075"/>
                </a:cubicBezTo>
                <a:cubicBezTo>
                  <a:pt x="544455" y="584876"/>
                  <a:pt x="492079" y="534167"/>
                  <a:pt x="483744" y="515690"/>
                </a:cubicBezTo>
                <a:cubicBezTo>
                  <a:pt x="489717" y="513467"/>
                  <a:pt x="539175" y="543753"/>
                  <a:pt x="545010" y="541253"/>
                </a:cubicBezTo>
                <a:cubicBezTo>
                  <a:pt x="535147" y="516385"/>
                  <a:pt x="505277" y="474984"/>
                  <a:pt x="496664" y="449561"/>
                </a:cubicBezTo>
                <a:cubicBezTo>
                  <a:pt x="501943" y="447894"/>
                  <a:pt x="527783" y="462342"/>
                  <a:pt x="533063" y="460397"/>
                </a:cubicBezTo>
                <a:cubicBezTo>
                  <a:pt x="499720" y="387738"/>
                  <a:pt x="462071" y="319525"/>
                  <a:pt x="441371" y="242976"/>
                </a:cubicBezTo>
                <a:cubicBezTo>
                  <a:pt x="405111" y="82516"/>
                  <a:pt x="423866" y="164344"/>
                  <a:pt x="401638" y="8607"/>
                </a:cubicBezTo>
                <a:lnTo>
                  <a:pt x="401638" y="8607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559DEBC7-D6BA-EFD3-B46A-D37F72816024}"/>
              </a:ext>
            </a:extLst>
          </p:cNvPr>
          <p:cNvSpPr/>
          <p:nvPr/>
        </p:nvSpPr>
        <p:spPr>
          <a:xfrm>
            <a:off x="3536013" y="11947806"/>
            <a:ext cx="368434" cy="684798"/>
          </a:xfrm>
          <a:custGeom>
            <a:avLst/>
            <a:gdLst>
              <a:gd name="connsiteX0" fmla="*/ 201861 w 368434"/>
              <a:gd name="connsiteY0" fmla="*/ 4298 h 684798"/>
              <a:gd name="connsiteX1" fmla="*/ 190608 w 368434"/>
              <a:gd name="connsiteY1" fmla="*/ 10272 h 684798"/>
              <a:gd name="connsiteX2" fmla="*/ 168241 w 368434"/>
              <a:gd name="connsiteY2" fmla="*/ 110438 h 684798"/>
              <a:gd name="connsiteX3" fmla="*/ 101000 w 368434"/>
              <a:gd name="connsiteY3" fmla="*/ 223108 h 684798"/>
              <a:gd name="connsiteX4" fmla="*/ 139205 w 368434"/>
              <a:gd name="connsiteY4" fmla="*/ 207687 h 684798"/>
              <a:gd name="connsiteX5" fmla="*/ 95026 w 368434"/>
              <a:gd name="connsiteY5" fmla="*/ 261730 h 684798"/>
              <a:gd name="connsiteX6" fmla="*/ 124756 w 368434"/>
              <a:gd name="connsiteY6" fmla="*/ 262146 h 684798"/>
              <a:gd name="connsiteX7" fmla="*/ 90441 w 368434"/>
              <a:gd name="connsiteY7" fmla="*/ 294794 h 684798"/>
              <a:gd name="connsiteX8" fmla="*/ 127952 w 368434"/>
              <a:gd name="connsiteY8" fmla="*/ 290487 h 684798"/>
              <a:gd name="connsiteX9" fmla="*/ 77521 w 368434"/>
              <a:gd name="connsiteY9" fmla="*/ 347586 h 684798"/>
              <a:gd name="connsiteX10" fmla="*/ 131425 w 368434"/>
              <a:gd name="connsiteY10" fmla="*/ 343557 h 684798"/>
              <a:gd name="connsiteX11" fmla="*/ 64601 w 368434"/>
              <a:gd name="connsiteY11" fmla="*/ 400240 h 684798"/>
              <a:gd name="connsiteX12" fmla="*/ 105307 w 368434"/>
              <a:gd name="connsiteY12" fmla="*/ 401629 h 684798"/>
              <a:gd name="connsiteX13" fmla="*/ 51681 w 368434"/>
              <a:gd name="connsiteY13" fmla="*/ 452893 h 684798"/>
              <a:gd name="connsiteX14" fmla="*/ 91553 w 368434"/>
              <a:gd name="connsiteY14" fmla="*/ 456088 h 684798"/>
              <a:gd name="connsiteX15" fmla="*/ 38761 w 368434"/>
              <a:gd name="connsiteY15" fmla="*/ 505685 h 684798"/>
              <a:gd name="connsiteX16" fmla="*/ 98221 w 368434"/>
              <a:gd name="connsiteY16" fmla="*/ 500128 h 684798"/>
              <a:gd name="connsiteX17" fmla="*/ 25840 w 368434"/>
              <a:gd name="connsiteY17" fmla="*/ 558477 h 684798"/>
              <a:gd name="connsiteX18" fmla="*/ 81133 w 368434"/>
              <a:gd name="connsiteY18" fmla="*/ 558200 h 684798"/>
              <a:gd name="connsiteX19" fmla="*/ 12920 w 368434"/>
              <a:gd name="connsiteY19" fmla="*/ 611270 h 684798"/>
              <a:gd name="connsiteX20" fmla="*/ 52514 w 368434"/>
              <a:gd name="connsiteY20" fmla="*/ 619327 h 684798"/>
              <a:gd name="connsiteX21" fmla="*/ 0 w 368434"/>
              <a:gd name="connsiteY21" fmla="*/ 664062 h 684798"/>
              <a:gd name="connsiteX22" fmla="*/ 368434 w 368434"/>
              <a:gd name="connsiteY22" fmla="*/ 672120 h 684798"/>
              <a:gd name="connsiteX23" fmla="*/ 324950 w 368434"/>
              <a:gd name="connsiteY23" fmla="*/ 624190 h 684798"/>
              <a:gd name="connsiteX24" fmla="*/ 355514 w 368434"/>
              <a:gd name="connsiteY24" fmla="*/ 619327 h 684798"/>
              <a:gd name="connsiteX25" fmla="*/ 315086 w 368434"/>
              <a:gd name="connsiteY25" fmla="*/ 571259 h 684798"/>
              <a:gd name="connsiteX26" fmla="*/ 342594 w 368434"/>
              <a:gd name="connsiteY26" fmla="*/ 566535 h 684798"/>
              <a:gd name="connsiteX27" fmla="*/ 305083 w 368434"/>
              <a:gd name="connsiteY27" fmla="*/ 518328 h 684798"/>
              <a:gd name="connsiteX28" fmla="*/ 329674 w 368434"/>
              <a:gd name="connsiteY28" fmla="*/ 513743 h 684798"/>
              <a:gd name="connsiteX29" fmla="*/ 295081 w 368434"/>
              <a:gd name="connsiteY29" fmla="*/ 465396 h 684798"/>
              <a:gd name="connsiteX30" fmla="*/ 316753 w 368434"/>
              <a:gd name="connsiteY30" fmla="*/ 460951 h 684798"/>
              <a:gd name="connsiteX31" fmla="*/ 274797 w 368434"/>
              <a:gd name="connsiteY31" fmla="*/ 402879 h 684798"/>
              <a:gd name="connsiteX32" fmla="*/ 303694 w 368434"/>
              <a:gd name="connsiteY32" fmla="*/ 408297 h 684798"/>
              <a:gd name="connsiteX33" fmla="*/ 264795 w 368434"/>
              <a:gd name="connsiteY33" fmla="*/ 350643 h 684798"/>
              <a:gd name="connsiteX34" fmla="*/ 290774 w 368434"/>
              <a:gd name="connsiteY34" fmla="*/ 355505 h 684798"/>
              <a:gd name="connsiteX35" fmla="*/ 249652 w 368434"/>
              <a:gd name="connsiteY35" fmla="*/ 296878 h 684798"/>
              <a:gd name="connsiteX36" fmla="*/ 277854 w 368434"/>
              <a:gd name="connsiteY36" fmla="*/ 302713 h 684798"/>
              <a:gd name="connsiteX37" fmla="*/ 242566 w 368434"/>
              <a:gd name="connsiteY37" fmla="*/ 258812 h 684798"/>
              <a:gd name="connsiteX38" fmla="*/ 273269 w 368434"/>
              <a:gd name="connsiteY38" fmla="*/ 271593 h 684798"/>
              <a:gd name="connsiteX39" fmla="*/ 248957 w 368434"/>
              <a:gd name="connsiteY39" fmla="*/ 225609 h 684798"/>
              <a:gd name="connsiteX40" fmla="*/ 267295 w 368434"/>
              <a:gd name="connsiteY40" fmla="*/ 231027 h 684798"/>
              <a:gd name="connsiteX41" fmla="*/ 221172 w 368434"/>
              <a:gd name="connsiteY41" fmla="*/ 121830 h 684798"/>
              <a:gd name="connsiteX42" fmla="*/ 201861 w 368434"/>
              <a:gd name="connsiteY42" fmla="*/ 4298 h 684798"/>
              <a:gd name="connsiteX43" fmla="*/ 201861 w 368434"/>
              <a:gd name="connsiteY43" fmla="*/ 4298 h 684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68434" h="684798">
                <a:moveTo>
                  <a:pt x="201861" y="4298"/>
                </a:moveTo>
                <a:cubicBezTo>
                  <a:pt x="201027" y="-1954"/>
                  <a:pt x="192275" y="-2510"/>
                  <a:pt x="190608" y="10272"/>
                </a:cubicBezTo>
                <a:cubicBezTo>
                  <a:pt x="182550" y="75151"/>
                  <a:pt x="182411" y="67093"/>
                  <a:pt x="168241" y="110438"/>
                </a:cubicBezTo>
                <a:cubicBezTo>
                  <a:pt x="155876" y="153922"/>
                  <a:pt x="124201" y="185181"/>
                  <a:pt x="101000" y="223108"/>
                </a:cubicBezTo>
                <a:cubicBezTo>
                  <a:pt x="104473" y="224775"/>
                  <a:pt x="135593" y="206298"/>
                  <a:pt x="139205" y="207687"/>
                </a:cubicBezTo>
                <a:cubicBezTo>
                  <a:pt x="134064" y="219218"/>
                  <a:pt x="100861" y="250615"/>
                  <a:pt x="95026" y="261730"/>
                </a:cubicBezTo>
                <a:cubicBezTo>
                  <a:pt x="99055" y="263952"/>
                  <a:pt x="120588" y="260062"/>
                  <a:pt x="124756" y="262146"/>
                </a:cubicBezTo>
                <a:cubicBezTo>
                  <a:pt x="119477" y="271177"/>
                  <a:pt x="96554" y="286042"/>
                  <a:pt x="90441" y="294794"/>
                </a:cubicBezTo>
                <a:cubicBezTo>
                  <a:pt x="96276" y="297295"/>
                  <a:pt x="121700" y="288403"/>
                  <a:pt x="127952" y="290487"/>
                </a:cubicBezTo>
                <a:cubicBezTo>
                  <a:pt x="118782" y="306325"/>
                  <a:pt x="89191" y="332721"/>
                  <a:pt x="77521" y="347586"/>
                </a:cubicBezTo>
                <a:cubicBezTo>
                  <a:pt x="84606" y="350226"/>
                  <a:pt x="124062" y="341474"/>
                  <a:pt x="131425" y="343557"/>
                </a:cubicBezTo>
                <a:cubicBezTo>
                  <a:pt x="121144" y="359256"/>
                  <a:pt x="77521" y="385652"/>
                  <a:pt x="64601" y="400240"/>
                </a:cubicBezTo>
                <a:cubicBezTo>
                  <a:pt x="72798" y="403018"/>
                  <a:pt x="96693" y="399545"/>
                  <a:pt x="105307" y="401629"/>
                </a:cubicBezTo>
                <a:cubicBezTo>
                  <a:pt x="94053" y="417189"/>
                  <a:pt x="65851" y="438306"/>
                  <a:pt x="51681" y="452893"/>
                </a:cubicBezTo>
                <a:cubicBezTo>
                  <a:pt x="60989" y="455671"/>
                  <a:pt x="81550" y="453727"/>
                  <a:pt x="91553" y="456088"/>
                </a:cubicBezTo>
                <a:cubicBezTo>
                  <a:pt x="79188" y="471648"/>
                  <a:pt x="54320" y="491098"/>
                  <a:pt x="38761" y="505685"/>
                </a:cubicBezTo>
                <a:cubicBezTo>
                  <a:pt x="49180" y="508603"/>
                  <a:pt x="87107" y="497766"/>
                  <a:pt x="98221" y="500128"/>
                </a:cubicBezTo>
                <a:cubicBezTo>
                  <a:pt x="84745" y="515549"/>
                  <a:pt x="42650" y="544029"/>
                  <a:pt x="25840" y="558477"/>
                </a:cubicBezTo>
                <a:cubicBezTo>
                  <a:pt x="37510" y="561395"/>
                  <a:pt x="68769" y="555838"/>
                  <a:pt x="81133" y="558200"/>
                </a:cubicBezTo>
                <a:cubicBezTo>
                  <a:pt x="66685" y="573620"/>
                  <a:pt x="31119" y="596821"/>
                  <a:pt x="12920" y="611270"/>
                </a:cubicBezTo>
                <a:cubicBezTo>
                  <a:pt x="25701" y="614187"/>
                  <a:pt x="38899" y="616966"/>
                  <a:pt x="52514" y="619327"/>
                </a:cubicBezTo>
                <a:cubicBezTo>
                  <a:pt x="36954" y="634748"/>
                  <a:pt x="19589" y="649613"/>
                  <a:pt x="0" y="664062"/>
                </a:cubicBezTo>
                <a:cubicBezTo>
                  <a:pt x="108780" y="687541"/>
                  <a:pt x="246734" y="692264"/>
                  <a:pt x="368434" y="672120"/>
                </a:cubicBezTo>
                <a:cubicBezTo>
                  <a:pt x="352458" y="656421"/>
                  <a:pt x="338009" y="640305"/>
                  <a:pt x="324950" y="624190"/>
                </a:cubicBezTo>
                <a:cubicBezTo>
                  <a:pt x="335231" y="622801"/>
                  <a:pt x="345372" y="621134"/>
                  <a:pt x="355514" y="619327"/>
                </a:cubicBezTo>
                <a:cubicBezTo>
                  <a:pt x="340649" y="603490"/>
                  <a:pt x="327173" y="587513"/>
                  <a:pt x="315086" y="571259"/>
                </a:cubicBezTo>
                <a:cubicBezTo>
                  <a:pt x="324394" y="569869"/>
                  <a:pt x="333563" y="568341"/>
                  <a:pt x="342594" y="566535"/>
                </a:cubicBezTo>
                <a:cubicBezTo>
                  <a:pt x="328701" y="550698"/>
                  <a:pt x="316336" y="534582"/>
                  <a:pt x="305083" y="518328"/>
                </a:cubicBezTo>
                <a:cubicBezTo>
                  <a:pt x="313419" y="516938"/>
                  <a:pt x="321616" y="515410"/>
                  <a:pt x="329674" y="513743"/>
                </a:cubicBezTo>
                <a:cubicBezTo>
                  <a:pt x="316892" y="497905"/>
                  <a:pt x="305500" y="481790"/>
                  <a:pt x="295081" y="465396"/>
                </a:cubicBezTo>
                <a:cubicBezTo>
                  <a:pt x="302305" y="464146"/>
                  <a:pt x="309529" y="462618"/>
                  <a:pt x="316753" y="460951"/>
                </a:cubicBezTo>
                <a:cubicBezTo>
                  <a:pt x="305083" y="444974"/>
                  <a:pt x="284383" y="419134"/>
                  <a:pt x="274797" y="402879"/>
                </a:cubicBezTo>
                <a:cubicBezTo>
                  <a:pt x="281049" y="401629"/>
                  <a:pt x="297581" y="409826"/>
                  <a:pt x="303694" y="408297"/>
                </a:cubicBezTo>
                <a:cubicBezTo>
                  <a:pt x="293136" y="392321"/>
                  <a:pt x="273408" y="367175"/>
                  <a:pt x="264795" y="350643"/>
                </a:cubicBezTo>
                <a:cubicBezTo>
                  <a:pt x="270074" y="349392"/>
                  <a:pt x="285634" y="357033"/>
                  <a:pt x="290774" y="355505"/>
                </a:cubicBezTo>
                <a:cubicBezTo>
                  <a:pt x="281327" y="339390"/>
                  <a:pt x="257293" y="313410"/>
                  <a:pt x="249652" y="296878"/>
                </a:cubicBezTo>
                <a:cubicBezTo>
                  <a:pt x="253958" y="295767"/>
                  <a:pt x="273686" y="304102"/>
                  <a:pt x="277854" y="302713"/>
                </a:cubicBezTo>
                <a:cubicBezTo>
                  <a:pt x="273130" y="293544"/>
                  <a:pt x="246734" y="268120"/>
                  <a:pt x="242566" y="258812"/>
                </a:cubicBezTo>
                <a:cubicBezTo>
                  <a:pt x="245484" y="257701"/>
                  <a:pt x="270352" y="272844"/>
                  <a:pt x="273269" y="271593"/>
                </a:cubicBezTo>
                <a:cubicBezTo>
                  <a:pt x="268268" y="259090"/>
                  <a:pt x="253403" y="238251"/>
                  <a:pt x="248957" y="225609"/>
                </a:cubicBezTo>
                <a:cubicBezTo>
                  <a:pt x="251597" y="224775"/>
                  <a:pt x="264656" y="231999"/>
                  <a:pt x="267295" y="231027"/>
                </a:cubicBezTo>
                <a:cubicBezTo>
                  <a:pt x="250485" y="194628"/>
                  <a:pt x="231591" y="160313"/>
                  <a:pt x="221172" y="121830"/>
                </a:cubicBezTo>
                <a:cubicBezTo>
                  <a:pt x="203528" y="41391"/>
                  <a:pt x="212975" y="82514"/>
                  <a:pt x="201861" y="4298"/>
                </a:cubicBezTo>
                <a:lnTo>
                  <a:pt x="201861" y="4298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FE8FA17F-87F3-9904-3377-915FFE6F648A}"/>
              </a:ext>
            </a:extLst>
          </p:cNvPr>
          <p:cNvSpPr/>
          <p:nvPr/>
        </p:nvSpPr>
        <p:spPr>
          <a:xfrm>
            <a:off x="8351403" y="11625869"/>
            <a:ext cx="1152676" cy="2143307"/>
          </a:xfrm>
          <a:custGeom>
            <a:avLst/>
            <a:gdLst>
              <a:gd name="connsiteX0" fmla="*/ 521532 w 1152676"/>
              <a:gd name="connsiteY0" fmla="*/ 13495 h 2143307"/>
              <a:gd name="connsiteX1" fmla="*/ 556541 w 1152676"/>
              <a:gd name="connsiteY1" fmla="*/ 32111 h 2143307"/>
              <a:gd name="connsiteX2" fmla="*/ 626561 w 1152676"/>
              <a:gd name="connsiteY2" fmla="*/ 345669 h 2143307"/>
              <a:gd name="connsiteX3" fmla="*/ 836896 w 1152676"/>
              <a:gd name="connsiteY3" fmla="*/ 698266 h 2143307"/>
              <a:gd name="connsiteX4" fmla="*/ 717418 w 1152676"/>
              <a:gd name="connsiteY4" fmla="*/ 650058 h 2143307"/>
              <a:gd name="connsiteX5" fmla="*/ 855651 w 1152676"/>
              <a:gd name="connsiteY5" fmla="*/ 819271 h 2143307"/>
              <a:gd name="connsiteX6" fmla="*/ 762431 w 1152676"/>
              <a:gd name="connsiteY6" fmla="*/ 820383 h 2143307"/>
              <a:gd name="connsiteX7" fmla="*/ 869683 w 1152676"/>
              <a:gd name="connsiteY7" fmla="*/ 922633 h 2143307"/>
              <a:gd name="connsiteX8" fmla="*/ 752428 w 1152676"/>
              <a:gd name="connsiteY8" fmla="*/ 909296 h 2143307"/>
              <a:gd name="connsiteX9" fmla="*/ 910110 w 1152676"/>
              <a:gd name="connsiteY9" fmla="*/ 1087817 h 2143307"/>
              <a:gd name="connsiteX10" fmla="*/ 741453 w 1152676"/>
              <a:gd name="connsiteY10" fmla="*/ 1075452 h 2143307"/>
              <a:gd name="connsiteX11" fmla="*/ 950538 w 1152676"/>
              <a:gd name="connsiteY11" fmla="*/ 1253001 h 2143307"/>
              <a:gd name="connsiteX12" fmla="*/ 823003 w 1152676"/>
              <a:gd name="connsiteY12" fmla="*/ 1257586 h 2143307"/>
              <a:gd name="connsiteX13" fmla="*/ 990966 w 1152676"/>
              <a:gd name="connsiteY13" fmla="*/ 1418046 h 2143307"/>
              <a:gd name="connsiteX14" fmla="*/ 866488 w 1152676"/>
              <a:gd name="connsiteY14" fmla="*/ 1427910 h 2143307"/>
              <a:gd name="connsiteX15" fmla="*/ 1031394 w 1152676"/>
              <a:gd name="connsiteY15" fmla="*/ 1583230 h 2143307"/>
              <a:gd name="connsiteX16" fmla="*/ 845231 w 1152676"/>
              <a:gd name="connsiteY16" fmla="*/ 1565726 h 2143307"/>
              <a:gd name="connsiteX17" fmla="*/ 1071821 w 1152676"/>
              <a:gd name="connsiteY17" fmla="*/ 1748276 h 2143307"/>
              <a:gd name="connsiteX18" fmla="*/ 898718 w 1152676"/>
              <a:gd name="connsiteY18" fmla="*/ 1747442 h 2143307"/>
              <a:gd name="connsiteX19" fmla="*/ 1112249 w 1152676"/>
              <a:gd name="connsiteY19" fmla="*/ 1913321 h 2143307"/>
              <a:gd name="connsiteX20" fmla="*/ 988465 w 1152676"/>
              <a:gd name="connsiteY20" fmla="*/ 1938327 h 2143307"/>
              <a:gd name="connsiteX21" fmla="*/ 1152677 w 1152676"/>
              <a:gd name="connsiteY21" fmla="*/ 2078366 h 2143307"/>
              <a:gd name="connsiteX22" fmla="*/ 0 w 1152676"/>
              <a:gd name="connsiteY22" fmla="*/ 2103512 h 2143307"/>
              <a:gd name="connsiteX23" fmla="*/ 136010 w 1152676"/>
              <a:gd name="connsiteY23" fmla="*/ 1953470 h 2143307"/>
              <a:gd name="connsiteX24" fmla="*/ 40428 w 1152676"/>
              <a:gd name="connsiteY24" fmla="*/ 1938467 h 2143307"/>
              <a:gd name="connsiteX25" fmla="*/ 167129 w 1152676"/>
              <a:gd name="connsiteY25" fmla="*/ 1788147 h 2143307"/>
              <a:gd name="connsiteX26" fmla="*/ 80856 w 1152676"/>
              <a:gd name="connsiteY26" fmla="*/ 1773421 h 2143307"/>
              <a:gd name="connsiteX27" fmla="*/ 198249 w 1152676"/>
              <a:gd name="connsiteY27" fmla="*/ 1622685 h 2143307"/>
              <a:gd name="connsiteX28" fmla="*/ 121283 w 1152676"/>
              <a:gd name="connsiteY28" fmla="*/ 1608376 h 2143307"/>
              <a:gd name="connsiteX29" fmla="*/ 229368 w 1152676"/>
              <a:gd name="connsiteY29" fmla="*/ 1457223 h 2143307"/>
              <a:gd name="connsiteX30" fmla="*/ 161711 w 1152676"/>
              <a:gd name="connsiteY30" fmla="*/ 1443331 h 2143307"/>
              <a:gd name="connsiteX31" fmla="*/ 292719 w 1152676"/>
              <a:gd name="connsiteY31" fmla="*/ 1261476 h 2143307"/>
              <a:gd name="connsiteX32" fmla="*/ 202139 w 1152676"/>
              <a:gd name="connsiteY32" fmla="*/ 1278286 h 2143307"/>
              <a:gd name="connsiteX33" fmla="*/ 323839 w 1152676"/>
              <a:gd name="connsiteY33" fmla="*/ 1098098 h 2143307"/>
              <a:gd name="connsiteX34" fmla="*/ 242566 w 1152676"/>
              <a:gd name="connsiteY34" fmla="*/ 1113241 h 2143307"/>
              <a:gd name="connsiteX35" fmla="*/ 371213 w 1152676"/>
              <a:gd name="connsiteY35" fmla="*/ 929857 h 2143307"/>
              <a:gd name="connsiteX36" fmla="*/ 282994 w 1152676"/>
              <a:gd name="connsiteY36" fmla="*/ 948195 h 2143307"/>
              <a:gd name="connsiteX37" fmla="*/ 393302 w 1152676"/>
              <a:gd name="connsiteY37" fmla="*/ 810797 h 2143307"/>
              <a:gd name="connsiteX38" fmla="*/ 297026 w 1152676"/>
              <a:gd name="connsiteY38" fmla="*/ 850947 h 2143307"/>
              <a:gd name="connsiteX39" fmla="*/ 373019 w 1152676"/>
              <a:gd name="connsiteY39" fmla="*/ 707018 h 2143307"/>
              <a:gd name="connsiteX40" fmla="*/ 315781 w 1152676"/>
              <a:gd name="connsiteY40" fmla="*/ 723967 h 2143307"/>
              <a:gd name="connsiteX41" fmla="*/ 459848 w 1152676"/>
              <a:gd name="connsiteY41" fmla="*/ 382485 h 2143307"/>
              <a:gd name="connsiteX42" fmla="*/ 521532 w 1152676"/>
              <a:gd name="connsiteY42" fmla="*/ 13495 h 2143307"/>
              <a:gd name="connsiteX43" fmla="*/ 521532 w 1152676"/>
              <a:gd name="connsiteY43" fmla="*/ 13495 h 2143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152676" h="2143307">
                <a:moveTo>
                  <a:pt x="521532" y="13495"/>
                </a:moveTo>
                <a:cubicBezTo>
                  <a:pt x="524171" y="-6094"/>
                  <a:pt x="551540" y="-7900"/>
                  <a:pt x="556541" y="32111"/>
                </a:cubicBezTo>
                <a:cubicBezTo>
                  <a:pt x="581687" y="234945"/>
                  <a:pt x="582104" y="210077"/>
                  <a:pt x="626561" y="345669"/>
                </a:cubicBezTo>
                <a:cubicBezTo>
                  <a:pt x="665321" y="481818"/>
                  <a:pt x="764376" y="579761"/>
                  <a:pt x="836896" y="698266"/>
                </a:cubicBezTo>
                <a:cubicBezTo>
                  <a:pt x="826198" y="703406"/>
                  <a:pt x="728532" y="645474"/>
                  <a:pt x="717418" y="650058"/>
                </a:cubicBezTo>
                <a:cubicBezTo>
                  <a:pt x="733395" y="686318"/>
                  <a:pt x="837173" y="784539"/>
                  <a:pt x="855651" y="819271"/>
                </a:cubicBezTo>
                <a:cubicBezTo>
                  <a:pt x="843009" y="826218"/>
                  <a:pt x="775629" y="814270"/>
                  <a:pt x="762431" y="820383"/>
                </a:cubicBezTo>
                <a:cubicBezTo>
                  <a:pt x="778825" y="848863"/>
                  <a:pt x="850789" y="895264"/>
                  <a:pt x="869683" y="922633"/>
                </a:cubicBezTo>
                <a:cubicBezTo>
                  <a:pt x="851205" y="930413"/>
                  <a:pt x="771878" y="902766"/>
                  <a:pt x="752428" y="909296"/>
                </a:cubicBezTo>
                <a:cubicBezTo>
                  <a:pt x="781186" y="958615"/>
                  <a:pt x="873850" y="1041415"/>
                  <a:pt x="910110" y="1087817"/>
                </a:cubicBezTo>
                <a:cubicBezTo>
                  <a:pt x="888021" y="1096014"/>
                  <a:pt x="764654" y="1068645"/>
                  <a:pt x="741453" y="1075452"/>
                </a:cubicBezTo>
                <a:cubicBezTo>
                  <a:pt x="773545" y="1124494"/>
                  <a:pt x="910249" y="1207016"/>
                  <a:pt x="950538" y="1253001"/>
                </a:cubicBezTo>
                <a:cubicBezTo>
                  <a:pt x="924975" y="1261476"/>
                  <a:pt x="850093" y="1250639"/>
                  <a:pt x="823003" y="1257586"/>
                </a:cubicBezTo>
                <a:cubicBezTo>
                  <a:pt x="858430" y="1306349"/>
                  <a:pt x="946371" y="1372339"/>
                  <a:pt x="990966" y="1418046"/>
                </a:cubicBezTo>
                <a:cubicBezTo>
                  <a:pt x="961791" y="1426799"/>
                  <a:pt x="897329" y="1420825"/>
                  <a:pt x="866488" y="1427910"/>
                </a:cubicBezTo>
                <a:cubicBezTo>
                  <a:pt x="905248" y="1476535"/>
                  <a:pt x="982769" y="1537662"/>
                  <a:pt x="1031394" y="1583230"/>
                </a:cubicBezTo>
                <a:cubicBezTo>
                  <a:pt x="998606" y="1592260"/>
                  <a:pt x="880102" y="1558501"/>
                  <a:pt x="845231" y="1565726"/>
                </a:cubicBezTo>
                <a:cubicBezTo>
                  <a:pt x="887327" y="1614072"/>
                  <a:pt x="1018890" y="1702985"/>
                  <a:pt x="1071821" y="1748276"/>
                </a:cubicBezTo>
                <a:cubicBezTo>
                  <a:pt x="1035422" y="1757445"/>
                  <a:pt x="937340" y="1740079"/>
                  <a:pt x="898718" y="1747442"/>
                </a:cubicBezTo>
                <a:cubicBezTo>
                  <a:pt x="944147" y="1795649"/>
                  <a:pt x="1055289" y="1868169"/>
                  <a:pt x="1112249" y="1913321"/>
                </a:cubicBezTo>
                <a:cubicBezTo>
                  <a:pt x="1072238" y="1922629"/>
                  <a:pt x="1030837" y="1930964"/>
                  <a:pt x="988465" y="1938327"/>
                </a:cubicBezTo>
                <a:cubicBezTo>
                  <a:pt x="1037228" y="1986396"/>
                  <a:pt x="1091549" y="2033215"/>
                  <a:pt x="1152677" y="2078366"/>
                </a:cubicBezTo>
                <a:cubicBezTo>
                  <a:pt x="812445" y="2151719"/>
                  <a:pt x="380660" y="2166862"/>
                  <a:pt x="0" y="2103512"/>
                </a:cubicBezTo>
                <a:cubicBezTo>
                  <a:pt x="50152" y="2054332"/>
                  <a:pt x="95165" y="2004179"/>
                  <a:pt x="136010" y="1953470"/>
                </a:cubicBezTo>
                <a:cubicBezTo>
                  <a:pt x="103917" y="1949025"/>
                  <a:pt x="71964" y="1944024"/>
                  <a:pt x="40428" y="1938467"/>
                </a:cubicBezTo>
                <a:cubicBezTo>
                  <a:pt x="87107" y="1889147"/>
                  <a:pt x="129063" y="1838856"/>
                  <a:pt x="167129" y="1788147"/>
                </a:cubicBezTo>
                <a:cubicBezTo>
                  <a:pt x="138093" y="1783841"/>
                  <a:pt x="109335" y="1778978"/>
                  <a:pt x="80856" y="1773421"/>
                </a:cubicBezTo>
                <a:cubicBezTo>
                  <a:pt x="124062" y="1723963"/>
                  <a:pt x="162961" y="1673672"/>
                  <a:pt x="198249" y="1622685"/>
                </a:cubicBezTo>
                <a:cubicBezTo>
                  <a:pt x="172408" y="1618518"/>
                  <a:pt x="146707" y="1613655"/>
                  <a:pt x="121283" y="1608376"/>
                </a:cubicBezTo>
                <a:cubicBezTo>
                  <a:pt x="161155" y="1558779"/>
                  <a:pt x="196998" y="1508349"/>
                  <a:pt x="229368" y="1457223"/>
                </a:cubicBezTo>
                <a:cubicBezTo>
                  <a:pt x="206584" y="1453056"/>
                  <a:pt x="184078" y="1448471"/>
                  <a:pt x="161711" y="1443331"/>
                </a:cubicBezTo>
                <a:cubicBezTo>
                  <a:pt x="198110" y="1393595"/>
                  <a:pt x="263128" y="1312740"/>
                  <a:pt x="292719" y="1261476"/>
                </a:cubicBezTo>
                <a:cubicBezTo>
                  <a:pt x="273130" y="1257447"/>
                  <a:pt x="221310" y="1283148"/>
                  <a:pt x="202139" y="1278286"/>
                </a:cubicBezTo>
                <a:cubicBezTo>
                  <a:pt x="235203" y="1228272"/>
                  <a:pt x="297026" y="1149500"/>
                  <a:pt x="323839" y="1098098"/>
                </a:cubicBezTo>
                <a:cubicBezTo>
                  <a:pt x="307306" y="1094346"/>
                  <a:pt x="258682" y="1117964"/>
                  <a:pt x="242566" y="1113241"/>
                </a:cubicBezTo>
                <a:cubicBezTo>
                  <a:pt x="272158" y="1062949"/>
                  <a:pt x="347178" y="981538"/>
                  <a:pt x="371213" y="929857"/>
                </a:cubicBezTo>
                <a:cubicBezTo>
                  <a:pt x="357876" y="926245"/>
                  <a:pt x="296192" y="952502"/>
                  <a:pt x="282994" y="948195"/>
                </a:cubicBezTo>
                <a:cubicBezTo>
                  <a:pt x="297720" y="919715"/>
                  <a:pt x="380104" y="839832"/>
                  <a:pt x="393302" y="810797"/>
                </a:cubicBezTo>
                <a:cubicBezTo>
                  <a:pt x="383994" y="807323"/>
                  <a:pt x="306195" y="854836"/>
                  <a:pt x="297026" y="850947"/>
                </a:cubicBezTo>
                <a:cubicBezTo>
                  <a:pt x="312586" y="811908"/>
                  <a:pt x="359404" y="746751"/>
                  <a:pt x="373019" y="707018"/>
                </a:cubicBezTo>
                <a:cubicBezTo>
                  <a:pt x="364683" y="704379"/>
                  <a:pt x="324116" y="727024"/>
                  <a:pt x="315781" y="723967"/>
                </a:cubicBezTo>
                <a:cubicBezTo>
                  <a:pt x="368295" y="609908"/>
                  <a:pt x="427339" y="502796"/>
                  <a:pt x="459848" y="382485"/>
                </a:cubicBezTo>
                <a:cubicBezTo>
                  <a:pt x="516113" y="129638"/>
                  <a:pt x="486522" y="258145"/>
                  <a:pt x="521532" y="13495"/>
                </a:cubicBezTo>
                <a:lnTo>
                  <a:pt x="521532" y="13495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99C9C94C-CA70-F1C6-2FB6-BE45CBFFAE0F}"/>
              </a:ext>
            </a:extLst>
          </p:cNvPr>
          <p:cNvSpPr/>
          <p:nvPr/>
        </p:nvSpPr>
        <p:spPr>
          <a:xfrm>
            <a:off x="9085214" y="11006581"/>
            <a:ext cx="1333282" cy="2479128"/>
          </a:xfrm>
          <a:custGeom>
            <a:avLst/>
            <a:gdLst>
              <a:gd name="connsiteX0" fmla="*/ 603221 w 1333282"/>
              <a:gd name="connsiteY0" fmla="*/ 15598 h 2479128"/>
              <a:gd name="connsiteX1" fmla="*/ 643649 w 1333282"/>
              <a:gd name="connsiteY1" fmla="*/ 37132 h 2479128"/>
              <a:gd name="connsiteX2" fmla="*/ 724643 w 1333282"/>
              <a:gd name="connsiteY2" fmla="*/ 399870 h 2479128"/>
              <a:gd name="connsiteX3" fmla="*/ 967904 w 1333282"/>
              <a:gd name="connsiteY3" fmla="*/ 807760 h 2479128"/>
              <a:gd name="connsiteX4" fmla="*/ 829672 w 1333282"/>
              <a:gd name="connsiteY4" fmla="*/ 752050 h 2479128"/>
              <a:gd name="connsiteX5" fmla="*/ 989577 w 1333282"/>
              <a:gd name="connsiteY5" fmla="*/ 947798 h 2479128"/>
              <a:gd name="connsiteX6" fmla="*/ 881770 w 1333282"/>
              <a:gd name="connsiteY6" fmla="*/ 949048 h 2479128"/>
              <a:gd name="connsiteX7" fmla="*/ 1005831 w 1333282"/>
              <a:gd name="connsiteY7" fmla="*/ 1067275 h 2479128"/>
              <a:gd name="connsiteX8" fmla="*/ 870238 w 1333282"/>
              <a:gd name="connsiteY8" fmla="*/ 1051854 h 2479128"/>
              <a:gd name="connsiteX9" fmla="*/ 1052650 w 1333282"/>
              <a:gd name="connsiteY9" fmla="*/ 1258300 h 2479128"/>
              <a:gd name="connsiteX10" fmla="*/ 857457 w 1333282"/>
              <a:gd name="connsiteY10" fmla="*/ 1243990 h 2479128"/>
              <a:gd name="connsiteX11" fmla="*/ 1099329 w 1333282"/>
              <a:gd name="connsiteY11" fmla="*/ 1449324 h 2479128"/>
              <a:gd name="connsiteX12" fmla="*/ 951928 w 1333282"/>
              <a:gd name="connsiteY12" fmla="*/ 1454603 h 2479128"/>
              <a:gd name="connsiteX13" fmla="*/ 1146147 w 1333282"/>
              <a:gd name="connsiteY13" fmla="*/ 1640210 h 2479128"/>
              <a:gd name="connsiteX14" fmla="*/ 1002080 w 1333282"/>
              <a:gd name="connsiteY14" fmla="*/ 1651602 h 2479128"/>
              <a:gd name="connsiteX15" fmla="*/ 1192827 w 1333282"/>
              <a:gd name="connsiteY15" fmla="*/ 1831234 h 2479128"/>
              <a:gd name="connsiteX16" fmla="*/ 977629 w 1333282"/>
              <a:gd name="connsiteY16" fmla="*/ 1810951 h 2479128"/>
              <a:gd name="connsiteX17" fmla="*/ 1239646 w 1333282"/>
              <a:gd name="connsiteY17" fmla="*/ 2022120 h 2479128"/>
              <a:gd name="connsiteX18" fmla="*/ 1039451 w 1333282"/>
              <a:gd name="connsiteY18" fmla="*/ 2021147 h 2479128"/>
              <a:gd name="connsiteX19" fmla="*/ 1286464 w 1333282"/>
              <a:gd name="connsiteY19" fmla="*/ 2213144 h 2479128"/>
              <a:gd name="connsiteX20" fmla="*/ 1143230 w 1333282"/>
              <a:gd name="connsiteY20" fmla="*/ 2242041 h 2479128"/>
              <a:gd name="connsiteX21" fmla="*/ 1333282 w 1333282"/>
              <a:gd name="connsiteY21" fmla="*/ 2404030 h 2479128"/>
              <a:gd name="connsiteX22" fmla="*/ 0 w 1333282"/>
              <a:gd name="connsiteY22" fmla="*/ 2433205 h 2479128"/>
              <a:gd name="connsiteX23" fmla="*/ 157265 w 1333282"/>
              <a:gd name="connsiteY23" fmla="*/ 2259685 h 2479128"/>
              <a:gd name="connsiteX24" fmla="*/ 46680 w 1333282"/>
              <a:gd name="connsiteY24" fmla="*/ 2242319 h 2479128"/>
              <a:gd name="connsiteX25" fmla="*/ 193248 w 1333282"/>
              <a:gd name="connsiteY25" fmla="*/ 2068383 h 2479128"/>
              <a:gd name="connsiteX26" fmla="*/ 93498 w 1333282"/>
              <a:gd name="connsiteY26" fmla="*/ 2051294 h 2479128"/>
              <a:gd name="connsiteX27" fmla="*/ 229229 w 1333282"/>
              <a:gd name="connsiteY27" fmla="*/ 1876941 h 2479128"/>
              <a:gd name="connsiteX28" fmla="*/ 140178 w 1333282"/>
              <a:gd name="connsiteY28" fmla="*/ 1860409 h 2479128"/>
              <a:gd name="connsiteX29" fmla="*/ 265212 w 1333282"/>
              <a:gd name="connsiteY29" fmla="*/ 1685639 h 2479128"/>
              <a:gd name="connsiteX30" fmla="*/ 186996 w 1333282"/>
              <a:gd name="connsiteY30" fmla="*/ 1669523 h 2479128"/>
              <a:gd name="connsiteX31" fmla="*/ 338565 w 1333282"/>
              <a:gd name="connsiteY31" fmla="*/ 1459188 h 2479128"/>
              <a:gd name="connsiteX32" fmla="*/ 233814 w 1333282"/>
              <a:gd name="connsiteY32" fmla="*/ 1478638 h 2479128"/>
              <a:gd name="connsiteX33" fmla="*/ 374686 w 1333282"/>
              <a:gd name="connsiteY33" fmla="*/ 1270108 h 2479128"/>
              <a:gd name="connsiteX34" fmla="*/ 280633 w 1333282"/>
              <a:gd name="connsiteY34" fmla="*/ 1287613 h 2479128"/>
              <a:gd name="connsiteX35" fmla="*/ 429424 w 1333282"/>
              <a:gd name="connsiteY35" fmla="*/ 1075472 h 2479128"/>
              <a:gd name="connsiteX36" fmla="*/ 327451 w 1333282"/>
              <a:gd name="connsiteY36" fmla="*/ 1096728 h 2479128"/>
              <a:gd name="connsiteX37" fmla="*/ 454986 w 1333282"/>
              <a:gd name="connsiteY37" fmla="*/ 937795 h 2479128"/>
              <a:gd name="connsiteX38" fmla="*/ 343706 w 1333282"/>
              <a:gd name="connsiteY38" fmla="*/ 984197 h 2479128"/>
              <a:gd name="connsiteX39" fmla="*/ 431646 w 1333282"/>
              <a:gd name="connsiteY39" fmla="*/ 817624 h 2479128"/>
              <a:gd name="connsiteX40" fmla="*/ 365517 w 1333282"/>
              <a:gd name="connsiteY40" fmla="*/ 837212 h 2479128"/>
              <a:gd name="connsiteX41" fmla="*/ 532229 w 1333282"/>
              <a:gd name="connsiteY41" fmla="*/ 442243 h 2479128"/>
              <a:gd name="connsiteX42" fmla="*/ 603221 w 1333282"/>
              <a:gd name="connsiteY42" fmla="*/ 15598 h 2479128"/>
              <a:gd name="connsiteX43" fmla="*/ 603221 w 1333282"/>
              <a:gd name="connsiteY43" fmla="*/ 15598 h 2479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333282" h="2479128">
                <a:moveTo>
                  <a:pt x="603221" y="15598"/>
                </a:moveTo>
                <a:cubicBezTo>
                  <a:pt x="606138" y="-7047"/>
                  <a:pt x="637953" y="-9131"/>
                  <a:pt x="643649" y="37132"/>
                </a:cubicBezTo>
                <a:cubicBezTo>
                  <a:pt x="672685" y="271780"/>
                  <a:pt x="673240" y="242883"/>
                  <a:pt x="724643" y="399870"/>
                </a:cubicBezTo>
                <a:cubicBezTo>
                  <a:pt x="769516" y="557413"/>
                  <a:pt x="883992" y="670500"/>
                  <a:pt x="967904" y="807760"/>
                </a:cubicBezTo>
                <a:cubicBezTo>
                  <a:pt x="955540" y="813734"/>
                  <a:pt x="842592" y="746771"/>
                  <a:pt x="829672" y="752050"/>
                </a:cubicBezTo>
                <a:cubicBezTo>
                  <a:pt x="848150" y="794006"/>
                  <a:pt x="968321" y="907509"/>
                  <a:pt x="989577" y="947798"/>
                </a:cubicBezTo>
                <a:cubicBezTo>
                  <a:pt x="974990" y="955856"/>
                  <a:pt x="897051" y="941963"/>
                  <a:pt x="881770" y="949048"/>
                </a:cubicBezTo>
                <a:cubicBezTo>
                  <a:pt x="900803" y="981974"/>
                  <a:pt x="984020" y="1035739"/>
                  <a:pt x="1005831" y="1067275"/>
                </a:cubicBezTo>
                <a:cubicBezTo>
                  <a:pt x="984575" y="1076305"/>
                  <a:pt x="892605" y="1044352"/>
                  <a:pt x="870238" y="1051854"/>
                </a:cubicBezTo>
                <a:cubicBezTo>
                  <a:pt x="903442" y="1108953"/>
                  <a:pt x="1010693" y="1204674"/>
                  <a:pt x="1052650" y="1258300"/>
                </a:cubicBezTo>
                <a:cubicBezTo>
                  <a:pt x="1027226" y="1267747"/>
                  <a:pt x="884409" y="1236210"/>
                  <a:pt x="857457" y="1243990"/>
                </a:cubicBezTo>
                <a:cubicBezTo>
                  <a:pt x="894551" y="1300672"/>
                  <a:pt x="1052650" y="1396115"/>
                  <a:pt x="1099329" y="1449324"/>
                </a:cubicBezTo>
                <a:cubicBezTo>
                  <a:pt x="1069737" y="1459188"/>
                  <a:pt x="983186" y="1446685"/>
                  <a:pt x="951928" y="1454603"/>
                </a:cubicBezTo>
                <a:cubicBezTo>
                  <a:pt x="992911" y="1511008"/>
                  <a:pt x="1094606" y="1587279"/>
                  <a:pt x="1146147" y="1640210"/>
                </a:cubicBezTo>
                <a:cubicBezTo>
                  <a:pt x="1112388" y="1650351"/>
                  <a:pt x="1037923" y="1643405"/>
                  <a:pt x="1002080" y="1651602"/>
                </a:cubicBezTo>
                <a:cubicBezTo>
                  <a:pt x="1046954" y="1707728"/>
                  <a:pt x="1136561" y="1778442"/>
                  <a:pt x="1192827" y="1831234"/>
                </a:cubicBezTo>
                <a:cubicBezTo>
                  <a:pt x="1154900" y="1841654"/>
                  <a:pt x="1017779" y="1802615"/>
                  <a:pt x="977629" y="1810951"/>
                </a:cubicBezTo>
                <a:cubicBezTo>
                  <a:pt x="1026253" y="1866939"/>
                  <a:pt x="1178517" y="1969606"/>
                  <a:pt x="1239646" y="2022120"/>
                </a:cubicBezTo>
                <a:cubicBezTo>
                  <a:pt x="1197550" y="2032678"/>
                  <a:pt x="1084047" y="2012673"/>
                  <a:pt x="1039451" y="2021147"/>
                </a:cubicBezTo>
                <a:cubicBezTo>
                  <a:pt x="1091966" y="2076996"/>
                  <a:pt x="1220613" y="2160769"/>
                  <a:pt x="1286464" y="2213144"/>
                </a:cubicBezTo>
                <a:cubicBezTo>
                  <a:pt x="1240201" y="2223842"/>
                  <a:pt x="1192271" y="2233567"/>
                  <a:pt x="1143230" y="2242041"/>
                </a:cubicBezTo>
                <a:cubicBezTo>
                  <a:pt x="1199634" y="2297751"/>
                  <a:pt x="1262568" y="2351793"/>
                  <a:pt x="1333282" y="2404030"/>
                </a:cubicBezTo>
                <a:cubicBezTo>
                  <a:pt x="939702" y="2488914"/>
                  <a:pt x="440259" y="2506280"/>
                  <a:pt x="0" y="2433205"/>
                </a:cubicBezTo>
                <a:cubicBezTo>
                  <a:pt x="57933" y="2376245"/>
                  <a:pt x="110031" y="2318312"/>
                  <a:pt x="157265" y="2259685"/>
                </a:cubicBezTo>
                <a:cubicBezTo>
                  <a:pt x="120033" y="2254545"/>
                  <a:pt x="83218" y="2248849"/>
                  <a:pt x="46680" y="2242319"/>
                </a:cubicBezTo>
                <a:cubicBezTo>
                  <a:pt x="100722" y="2185220"/>
                  <a:pt x="149208" y="2127149"/>
                  <a:pt x="193248" y="2068383"/>
                </a:cubicBezTo>
                <a:cubicBezTo>
                  <a:pt x="159628" y="2063381"/>
                  <a:pt x="126424" y="2057685"/>
                  <a:pt x="93498" y="2051294"/>
                </a:cubicBezTo>
                <a:cubicBezTo>
                  <a:pt x="143512" y="1994057"/>
                  <a:pt x="188524" y="1935846"/>
                  <a:pt x="229229" y="1876941"/>
                </a:cubicBezTo>
                <a:cubicBezTo>
                  <a:pt x="199222" y="1872079"/>
                  <a:pt x="169630" y="1866522"/>
                  <a:pt x="140178" y="1860409"/>
                </a:cubicBezTo>
                <a:cubicBezTo>
                  <a:pt x="186301" y="1803032"/>
                  <a:pt x="227701" y="1744683"/>
                  <a:pt x="265212" y="1685639"/>
                </a:cubicBezTo>
                <a:cubicBezTo>
                  <a:pt x="238954" y="1680915"/>
                  <a:pt x="212836" y="1675497"/>
                  <a:pt x="186996" y="1669523"/>
                </a:cubicBezTo>
                <a:cubicBezTo>
                  <a:pt x="229091" y="1612008"/>
                  <a:pt x="304250" y="1518510"/>
                  <a:pt x="338565" y="1459188"/>
                </a:cubicBezTo>
                <a:cubicBezTo>
                  <a:pt x="315921" y="1454603"/>
                  <a:pt x="256043" y="1484334"/>
                  <a:pt x="233814" y="1478638"/>
                </a:cubicBezTo>
                <a:cubicBezTo>
                  <a:pt x="272019" y="1420844"/>
                  <a:pt x="343567" y="1329708"/>
                  <a:pt x="374686" y="1270108"/>
                </a:cubicBezTo>
                <a:cubicBezTo>
                  <a:pt x="355653" y="1265663"/>
                  <a:pt x="299388" y="1293031"/>
                  <a:pt x="280633" y="1287613"/>
                </a:cubicBezTo>
                <a:cubicBezTo>
                  <a:pt x="314948" y="1229403"/>
                  <a:pt x="401638" y="1135349"/>
                  <a:pt x="429424" y="1075472"/>
                </a:cubicBezTo>
                <a:cubicBezTo>
                  <a:pt x="414003" y="1071304"/>
                  <a:pt x="342594" y="1101729"/>
                  <a:pt x="327451" y="1096728"/>
                </a:cubicBezTo>
                <a:cubicBezTo>
                  <a:pt x="344539" y="1063802"/>
                  <a:pt x="439843" y="971416"/>
                  <a:pt x="454986" y="937795"/>
                </a:cubicBezTo>
                <a:cubicBezTo>
                  <a:pt x="444289" y="933766"/>
                  <a:pt x="354264" y="988643"/>
                  <a:pt x="343706" y="984197"/>
                </a:cubicBezTo>
                <a:cubicBezTo>
                  <a:pt x="361627" y="939046"/>
                  <a:pt x="415809" y="863747"/>
                  <a:pt x="431646" y="817624"/>
                </a:cubicBezTo>
                <a:cubicBezTo>
                  <a:pt x="421921" y="814567"/>
                  <a:pt x="374964" y="840685"/>
                  <a:pt x="365517" y="837212"/>
                </a:cubicBezTo>
                <a:cubicBezTo>
                  <a:pt x="426229" y="705371"/>
                  <a:pt x="494580" y="581309"/>
                  <a:pt x="532229" y="442243"/>
                </a:cubicBezTo>
                <a:cubicBezTo>
                  <a:pt x="597108" y="150080"/>
                  <a:pt x="562932" y="298593"/>
                  <a:pt x="603221" y="15598"/>
                </a:cubicBezTo>
                <a:lnTo>
                  <a:pt x="603221" y="15598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32A16A66-CC3A-048C-BFD8-A4883E100FA2}"/>
              </a:ext>
            </a:extLst>
          </p:cNvPr>
          <p:cNvSpPr/>
          <p:nvPr/>
        </p:nvSpPr>
        <p:spPr>
          <a:xfrm>
            <a:off x="7902252" y="12262736"/>
            <a:ext cx="733811" cy="1364156"/>
          </a:xfrm>
          <a:custGeom>
            <a:avLst/>
            <a:gdLst>
              <a:gd name="connsiteX0" fmla="*/ 332035 w 733811"/>
              <a:gd name="connsiteY0" fmla="*/ 8607 h 1364156"/>
              <a:gd name="connsiteX1" fmla="*/ 354264 w 733811"/>
              <a:gd name="connsiteY1" fmla="*/ 20415 h 1364156"/>
              <a:gd name="connsiteX2" fmla="*/ 398859 w 733811"/>
              <a:gd name="connsiteY2" fmla="*/ 220053 h 1364156"/>
              <a:gd name="connsiteX3" fmla="*/ 532784 w 733811"/>
              <a:gd name="connsiteY3" fmla="*/ 444559 h 1364156"/>
              <a:gd name="connsiteX4" fmla="*/ 456791 w 733811"/>
              <a:gd name="connsiteY4" fmla="*/ 413856 h 1364156"/>
              <a:gd name="connsiteX5" fmla="*/ 544732 w 733811"/>
              <a:gd name="connsiteY5" fmla="*/ 521525 h 1364156"/>
              <a:gd name="connsiteX6" fmla="*/ 485410 w 733811"/>
              <a:gd name="connsiteY6" fmla="*/ 522220 h 1364156"/>
              <a:gd name="connsiteX7" fmla="*/ 553623 w 733811"/>
              <a:gd name="connsiteY7" fmla="*/ 587237 h 1364156"/>
              <a:gd name="connsiteX8" fmla="*/ 479020 w 733811"/>
              <a:gd name="connsiteY8" fmla="*/ 578763 h 1364156"/>
              <a:gd name="connsiteX9" fmla="*/ 579464 w 733811"/>
              <a:gd name="connsiteY9" fmla="*/ 692405 h 1364156"/>
              <a:gd name="connsiteX10" fmla="*/ 472073 w 733811"/>
              <a:gd name="connsiteY10" fmla="*/ 684486 h 1364156"/>
              <a:gd name="connsiteX11" fmla="*/ 605166 w 733811"/>
              <a:gd name="connsiteY11" fmla="*/ 797434 h 1364156"/>
              <a:gd name="connsiteX12" fmla="*/ 524032 w 733811"/>
              <a:gd name="connsiteY12" fmla="*/ 800351 h 1364156"/>
              <a:gd name="connsiteX13" fmla="*/ 630867 w 733811"/>
              <a:gd name="connsiteY13" fmla="*/ 902462 h 1364156"/>
              <a:gd name="connsiteX14" fmla="*/ 551540 w 733811"/>
              <a:gd name="connsiteY14" fmla="*/ 908714 h 1364156"/>
              <a:gd name="connsiteX15" fmla="*/ 656568 w 733811"/>
              <a:gd name="connsiteY15" fmla="*/ 1007491 h 1364156"/>
              <a:gd name="connsiteX16" fmla="*/ 538064 w 733811"/>
              <a:gd name="connsiteY16" fmla="*/ 996377 h 1364156"/>
              <a:gd name="connsiteX17" fmla="*/ 682270 w 733811"/>
              <a:gd name="connsiteY17" fmla="*/ 1112659 h 1364156"/>
              <a:gd name="connsiteX18" fmla="*/ 572101 w 733811"/>
              <a:gd name="connsiteY18" fmla="*/ 1112103 h 1364156"/>
              <a:gd name="connsiteX19" fmla="*/ 708110 w 733811"/>
              <a:gd name="connsiteY19" fmla="*/ 1217688 h 1364156"/>
              <a:gd name="connsiteX20" fmla="*/ 629200 w 733811"/>
              <a:gd name="connsiteY20" fmla="*/ 1233664 h 1364156"/>
              <a:gd name="connsiteX21" fmla="*/ 733812 w 733811"/>
              <a:gd name="connsiteY21" fmla="*/ 1322855 h 1364156"/>
              <a:gd name="connsiteX22" fmla="*/ 0 w 733811"/>
              <a:gd name="connsiteY22" fmla="*/ 1338832 h 1364156"/>
              <a:gd name="connsiteX23" fmla="*/ 86551 w 733811"/>
              <a:gd name="connsiteY23" fmla="*/ 1243250 h 1364156"/>
              <a:gd name="connsiteX24" fmla="*/ 25701 w 733811"/>
              <a:gd name="connsiteY24" fmla="*/ 1233664 h 1364156"/>
              <a:gd name="connsiteX25" fmla="*/ 106279 w 733811"/>
              <a:gd name="connsiteY25" fmla="*/ 1137944 h 1364156"/>
              <a:gd name="connsiteX26" fmla="*/ 51403 w 733811"/>
              <a:gd name="connsiteY26" fmla="*/ 1128635 h 1364156"/>
              <a:gd name="connsiteX27" fmla="*/ 126145 w 733811"/>
              <a:gd name="connsiteY27" fmla="*/ 1032637 h 1364156"/>
              <a:gd name="connsiteX28" fmla="*/ 77104 w 733811"/>
              <a:gd name="connsiteY28" fmla="*/ 1023468 h 1364156"/>
              <a:gd name="connsiteX29" fmla="*/ 145873 w 733811"/>
              <a:gd name="connsiteY29" fmla="*/ 927191 h 1364156"/>
              <a:gd name="connsiteX30" fmla="*/ 102806 w 733811"/>
              <a:gd name="connsiteY30" fmla="*/ 918300 h 1364156"/>
              <a:gd name="connsiteX31" fmla="*/ 186162 w 733811"/>
              <a:gd name="connsiteY31" fmla="*/ 802574 h 1364156"/>
              <a:gd name="connsiteX32" fmla="*/ 128507 w 733811"/>
              <a:gd name="connsiteY32" fmla="*/ 813271 h 1364156"/>
              <a:gd name="connsiteX33" fmla="*/ 206028 w 733811"/>
              <a:gd name="connsiteY33" fmla="*/ 698518 h 1364156"/>
              <a:gd name="connsiteX34" fmla="*/ 154209 w 733811"/>
              <a:gd name="connsiteY34" fmla="*/ 708243 h 1364156"/>
              <a:gd name="connsiteX35" fmla="*/ 236037 w 733811"/>
              <a:gd name="connsiteY35" fmla="*/ 591405 h 1364156"/>
              <a:gd name="connsiteX36" fmla="*/ 179910 w 733811"/>
              <a:gd name="connsiteY36" fmla="*/ 603075 h 1364156"/>
              <a:gd name="connsiteX37" fmla="*/ 250068 w 733811"/>
              <a:gd name="connsiteY37" fmla="*/ 515690 h 1364156"/>
              <a:gd name="connsiteX38" fmla="*/ 188802 w 733811"/>
              <a:gd name="connsiteY38" fmla="*/ 541252 h 1364156"/>
              <a:gd name="connsiteX39" fmla="*/ 237148 w 733811"/>
              <a:gd name="connsiteY39" fmla="*/ 449561 h 1364156"/>
              <a:gd name="connsiteX40" fmla="*/ 200749 w 733811"/>
              <a:gd name="connsiteY40" fmla="*/ 460397 h 1364156"/>
              <a:gd name="connsiteX41" fmla="*/ 292441 w 733811"/>
              <a:gd name="connsiteY41" fmla="*/ 242976 h 1364156"/>
              <a:gd name="connsiteX42" fmla="*/ 332035 w 733811"/>
              <a:gd name="connsiteY42" fmla="*/ 8607 h 1364156"/>
              <a:gd name="connsiteX43" fmla="*/ 332035 w 733811"/>
              <a:gd name="connsiteY43" fmla="*/ 8607 h 1364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33811" h="1364156">
                <a:moveTo>
                  <a:pt x="332035" y="8607"/>
                </a:moveTo>
                <a:cubicBezTo>
                  <a:pt x="333702" y="-3897"/>
                  <a:pt x="351207" y="-5008"/>
                  <a:pt x="354264" y="20415"/>
                </a:cubicBezTo>
                <a:cubicBezTo>
                  <a:pt x="370240" y="149618"/>
                  <a:pt x="370518" y="133641"/>
                  <a:pt x="398859" y="220053"/>
                </a:cubicBezTo>
                <a:cubicBezTo>
                  <a:pt x="423588" y="306744"/>
                  <a:pt x="486522" y="368983"/>
                  <a:pt x="532784" y="444559"/>
                </a:cubicBezTo>
                <a:cubicBezTo>
                  <a:pt x="525977" y="447755"/>
                  <a:pt x="463877" y="410939"/>
                  <a:pt x="456791" y="413856"/>
                </a:cubicBezTo>
                <a:cubicBezTo>
                  <a:pt x="466933" y="436918"/>
                  <a:pt x="533063" y="499435"/>
                  <a:pt x="544732" y="521525"/>
                </a:cubicBezTo>
                <a:cubicBezTo>
                  <a:pt x="536674" y="525971"/>
                  <a:pt x="493746" y="518330"/>
                  <a:pt x="485410" y="522220"/>
                </a:cubicBezTo>
                <a:cubicBezTo>
                  <a:pt x="495830" y="540280"/>
                  <a:pt x="541676" y="569871"/>
                  <a:pt x="553623" y="587237"/>
                </a:cubicBezTo>
                <a:cubicBezTo>
                  <a:pt x="541954" y="592239"/>
                  <a:pt x="491384" y="574595"/>
                  <a:pt x="479020" y="578763"/>
                </a:cubicBezTo>
                <a:cubicBezTo>
                  <a:pt x="497358" y="610160"/>
                  <a:pt x="556263" y="662953"/>
                  <a:pt x="579464" y="692405"/>
                </a:cubicBezTo>
                <a:cubicBezTo>
                  <a:pt x="565432" y="697684"/>
                  <a:pt x="486800" y="680179"/>
                  <a:pt x="472073" y="684486"/>
                </a:cubicBezTo>
                <a:cubicBezTo>
                  <a:pt x="492496" y="715745"/>
                  <a:pt x="579464" y="768259"/>
                  <a:pt x="605166" y="797434"/>
                </a:cubicBezTo>
                <a:cubicBezTo>
                  <a:pt x="588911" y="802852"/>
                  <a:pt x="541259" y="795905"/>
                  <a:pt x="524032" y="800351"/>
                </a:cubicBezTo>
                <a:cubicBezTo>
                  <a:pt x="546538" y="831471"/>
                  <a:pt x="602526" y="873427"/>
                  <a:pt x="630867" y="902462"/>
                </a:cubicBezTo>
                <a:cubicBezTo>
                  <a:pt x="612251" y="908020"/>
                  <a:pt x="571267" y="904269"/>
                  <a:pt x="551540" y="908714"/>
                </a:cubicBezTo>
                <a:cubicBezTo>
                  <a:pt x="576130" y="939695"/>
                  <a:pt x="625588" y="978595"/>
                  <a:pt x="656568" y="1007491"/>
                </a:cubicBezTo>
                <a:cubicBezTo>
                  <a:pt x="635729" y="1013187"/>
                  <a:pt x="560292" y="991793"/>
                  <a:pt x="538064" y="996377"/>
                </a:cubicBezTo>
                <a:cubicBezTo>
                  <a:pt x="564876" y="1027219"/>
                  <a:pt x="648649" y="1083762"/>
                  <a:pt x="682270" y="1112659"/>
                </a:cubicBezTo>
                <a:cubicBezTo>
                  <a:pt x="659069" y="1118494"/>
                  <a:pt x="596691" y="1107519"/>
                  <a:pt x="572101" y="1112103"/>
                </a:cubicBezTo>
                <a:cubicBezTo>
                  <a:pt x="600998" y="1142806"/>
                  <a:pt x="671711" y="1188930"/>
                  <a:pt x="708110" y="1217688"/>
                </a:cubicBezTo>
                <a:cubicBezTo>
                  <a:pt x="682687" y="1223662"/>
                  <a:pt x="656291" y="1228941"/>
                  <a:pt x="629200" y="1233664"/>
                </a:cubicBezTo>
                <a:cubicBezTo>
                  <a:pt x="660181" y="1264228"/>
                  <a:pt x="694912" y="1294097"/>
                  <a:pt x="733812" y="1322855"/>
                </a:cubicBezTo>
                <a:cubicBezTo>
                  <a:pt x="517225" y="1369535"/>
                  <a:pt x="242288" y="1379121"/>
                  <a:pt x="0" y="1338832"/>
                </a:cubicBezTo>
                <a:cubicBezTo>
                  <a:pt x="31953" y="1307435"/>
                  <a:pt x="60572" y="1275620"/>
                  <a:pt x="86551" y="1243250"/>
                </a:cubicBezTo>
                <a:cubicBezTo>
                  <a:pt x="66129" y="1240472"/>
                  <a:pt x="45846" y="1237276"/>
                  <a:pt x="25701" y="1233664"/>
                </a:cubicBezTo>
                <a:cubicBezTo>
                  <a:pt x="55432" y="1202267"/>
                  <a:pt x="82105" y="1170314"/>
                  <a:pt x="106279" y="1137944"/>
                </a:cubicBezTo>
                <a:cubicBezTo>
                  <a:pt x="87801" y="1135165"/>
                  <a:pt x="69463" y="1132109"/>
                  <a:pt x="51403" y="1128635"/>
                </a:cubicBezTo>
                <a:cubicBezTo>
                  <a:pt x="78910" y="1097099"/>
                  <a:pt x="103639" y="1065146"/>
                  <a:pt x="126145" y="1032637"/>
                </a:cubicBezTo>
                <a:cubicBezTo>
                  <a:pt x="109613" y="1029997"/>
                  <a:pt x="93358" y="1026941"/>
                  <a:pt x="77104" y="1023468"/>
                </a:cubicBezTo>
                <a:cubicBezTo>
                  <a:pt x="102528" y="991931"/>
                  <a:pt x="125312" y="959700"/>
                  <a:pt x="145873" y="927191"/>
                </a:cubicBezTo>
                <a:cubicBezTo>
                  <a:pt x="131425" y="924552"/>
                  <a:pt x="116976" y="921634"/>
                  <a:pt x="102806" y="918300"/>
                </a:cubicBezTo>
                <a:cubicBezTo>
                  <a:pt x="126006" y="886625"/>
                  <a:pt x="167407" y="835222"/>
                  <a:pt x="186162" y="802574"/>
                </a:cubicBezTo>
                <a:cubicBezTo>
                  <a:pt x="173659" y="800073"/>
                  <a:pt x="140733" y="816467"/>
                  <a:pt x="128507" y="813271"/>
                </a:cubicBezTo>
                <a:cubicBezTo>
                  <a:pt x="149485" y="781457"/>
                  <a:pt x="188940" y="731305"/>
                  <a:pt x="206028" y="698518"/>
                </a:cubicBezTo>
                <a:cubicBezTo>
                  <a:pt x="195470" y="696156"/>
                  <a:pt x="164628" y="711160"/>
                  <a:pt x="154209" y="708243"/>
                </a:cubicBezTo>
                <a:cubicBezTo>
                  <a:pt x="173103" y="676289"/>
                  <a:pt x="220755" y="624470"/>
                  <a:pt x="236037" y="591405"/>
                </a:cubicBezTo>
                <a:cubicBezTo>
                  <a:pt x="227562" y="589182"/>
                  <a:pt x="188246" y="605854"/>
                  <a:pt x="179910" y="603075"/>
                </a:cubicBezTo>
                <a:cubicBezTo>
                  <a:pt x="189357" y="584875"/>
                  <a:pt x="241733" y="534167"/>
                  <a:pt x="250068" y="515690"/>
                </a:cubicBezTo>
                <a:cubicBezTo>
                  <a:pt x="244094" y="513467"/>
                  <a:pt x="194636" y="543753"/>
                  <a:pt x="188802" y="541252"/>
                </a:cubicBezTo>
                <a:cubicBezTo>
                  <a:pt x="198665" y="516385"/>
                  <a:pt x="228535" y="474984"/>
                  <a:pt x="237148" y="449561"/>
                </a:cubicBezTo>
                <a:cubicBezTo>
                  <a:pt x="231869" y="447894"/>
                  <a:pt x="206028" y="462342"/>
                  <a:pt x="200749" y="460397"/>
                </a:cubicBezTo>
                <a:cubicBezTo>
                  <a:pt x="234092" y="387738"/>
                  <a:pt x="271741" y="319525"/>
                  <a:pt x="292441" y="242976"/>
                </a:cubicBezTo>
                <a:cubicBezTo>
                  <a:pt x="328562" y="82655"/>
                  <a:pt x="309807" y="164344"/>
                  <a:pt x="332035" y="8607"/>
                </a:cubicBezTo>
                <a:lnTo>
                  <a:pt x="332035" y="8607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F93A60F9-63E9-28B1-155D-9CFDE83DDA78}"/>
              </a:ext>
            </a:extLst>
          </p:cNvPr>
          <p:cNvSpPr/>
          <p:nvPr/>
        </p:nvSpPr>
        <p:spPr>
          <a:xfrm>
            <a:off x="7739708" y="12588244"/>
            <a:ext cx="368434" cy="684856"/>
          </a:xfrm>
          <a:custGeom>
            <a:avLst/>
            <a:gdLst>
              <a:gd name="connsiteX0" fmla="*/ 166712 w 368434"/>
              <a:gd name="connsiteY0" fmla="*/ 4298 h 684856"/>
              <a:gd name="connsiteX1" fmla="*/ 177826 w 368434"/>
              <a:gd name="connsiteY1" fmla="*/ 10272 h 684856"/>
              <a:gd name="connsiteX2" fmla="*/ 200194 w 368434"/>
              <a:gd name="connsiteY2" fmla="*/ 110438 h 684856"/>
              <a:gd name="connsiteX3" fmla="*/ 267434 w 368434"/>
              <a:gd name="connsiteY3" fmla="*/ 223108 h 684856"/>
              <a:gd name="connsiteX4" fmla="*/ 229229 w 368434"/>
              <a:gd name="connsiteY4" fmla="*/ 207687 h 684856"/>
              <a:gd name="connsiteX5" fmla="*/ 273408 w 368434"/>
              <a:gd name="connsiteY5" fmla="*/ 261729 h 684856"/>
              <a:gd name="connsiteX6" fmla="*/ 243678 w 368434"/>
              <a:gd name="connsiteY6" fmla="*/ 262146 h 684856"/>
              <a:gd name="connsiteX7" fmla="*/ 277993 w 368434"/>
              <a:gd name="connsiteY7" fmla="*/ 294794 h 684856"/>
              <a:gd name="connsiteX8" fmla="*/ 240482 w 368434"/>
              <a:gd name="connsiteY8" fmla="*/ 290487 h 684856"/>
              <a:gd name="connsiteX9" fmla="*/ 290913 w 368434"/>
              <a:gd name="connsiteY9" fmla="*/ 347586 h 684856"/>
              <a:gd name="connsiteX10" fmla="*/ 237009 w 368434"/>
              <a:gd name="connsiteY10" fmla="*/ 343557 h 684856"/>
              <a:gd name="connsiteX11" fmla="*/ 303833 w 368434"/>
              <a:gd name="connsiteY11" fmla="*/ 400240 h 684856"/>
              <a:gd name="connsiteX12" fmla="*/ 263128 w 368434"/>
              <a:gd name="connsiteY12" fmla="*/ 401629 h 684856"/>
              <a:gd name="connsiteX13" fmla="*/ 316753 w 368434"/>
              <a:gd name="connsiteY13" fmla="*/ 452893 h 684856"/>
              <a:gd name="connsiteX14" fmla="*/ 276881 w 368434"/>
              <a:gd name="connsiteY14" fmla="*/ 456088 h 684856"/>
              <a:gd name="connsiteX15" fmla="*/ 329674 w 368434"/>
              <a:gd name="connsiteY15" fmla="*/ 505685 h 684856"/>
              <a:gd name="connsiteX16" fmla="*/ 270213 w 368434"/>
              <a:gd name="connsiteY16" fmla="*/ 500128 h 684856"/>
              <a:gd name="connsiteX17" fmla="*/ 342594 w 368434"/>
              <a:gd name="connsiteY17" fmla="*/ 558477 h 684856"/>
              <a:gd name="connsiteX18" fmla="*/ 287301 w 368434"/>
              <a:gd name="connsiteY18" fmla="*/ 558200 h 684856"/>
              <a:gd name="connsiteX19" fmla="*/ 355514 w 368434"/>
              <a:gd name="connsiteY19" fmla="*/ 611270 h 684856"/>
              <a:gd name="connsiteX20" fmla="*/ 315920 w 368434"/>
              <a:gd name="connsiteY20" fmla="*/ 619327 h 684856"/>
              <a:gd name="connsiteX21" fmla="*/ 368434 w 368434"/>
              <a:gd name="connsiteY21" fmla="*/ 664062 h 684856"/>
              <a:gd name="connsiteX22" fmla="*/ 0 w 368434"/>
              <a:gd name="connsiteY22" fmla="*/ 672120 h 684856"/>
              <a:gd name="connsiteX23" fmla="*/ 43484 w 368434"/>
              <a:gd name="connsiteY23" fmla="*/ 624190 h 684856"/>
              <a:gd name="connsiteX24" fmla="*/ 12920 w 368434"/>
              <a:gd name="connsiteY24" fmla="*/ 619327 h 684856"/>
              <a:gd name="connsiteX25" fmla="*/ 53348 w 368434"/>
              <a:gd name="connsiteY25" fmla="*/ 571259 h 684856"/>
              <a:gd name="connsiteX26" fmla="*/ 25840 w 368434"/>
              <a:gd name="connsiteY26" fmla="*/ 566535 h 684856"/>
              <a:gd name="connsiteX27" fmla="*/ 63351 w 368434"/>
              <a:gd name="connsiteY27" fmla="*/ 518327 h 684856"/>
              <a:gd name="connsiteX28" fmla="*/ 38761 w 368434"/>
              <a:gd name="connsiteY28" fmla="*/ 513743 h 684856"/>
              <a:gd name="connsiteX29" fmla="*/ 73353 w 368434"/>
              <a:gd name="connsiteY29" fmla="*/ 465396 h 684856"/>
              <a:gd name="connsiteX30" fmla="*/ 51681 w 368434"/>
              <a:gd name="connsiteY30" fmla="*/ 460951 h 684856"/>
              <a:gd name="connsiteX31" fmla="*/ 93637 w 368434"/>
              <a:gd name="connsiteY31" fmla="*/ 402879 h 684856"/>
              <a:gd name="connsiteX32" fmla="*/ 64740 w 368434"/>
              <a:gd name="connsiteY32" fmla="*/ 408297 h 684856"/>
              <a:gd name="connsiteX33" fmla="*/ 103639 w 368434"/>
              <a:gd name="connsiteY33" fmla="*/ 350643 h 684856"/>
              <a:gd name="connsiteX34" fmla="*/ 77660 w 368434"/>
              <a:gd name="connsiteY34" fmla="*/ 355505 h 684856"/>
              <a:gd name="connsiteX35" fmla="*/ 118782 w 368434"/>
              <a:gd name="connsiteY35" fmla="*/ 296878 h 684856"/>
              <a:gd name="connsiteX36" fmla="*/ 90580 w 368434"/>
              <a:gd name="connsiteY36" fmla="*/ 302713 h 684856"/>
              <a:gd name="connsiteX37" fmla="*/ 125868 w 368434"/>
              <a:gd name="connsiteY37" fmla="*/ 258812 h 684856"/>
              <a:gd name="connsiteX38" fmla="*/ 95165 w 368434"/>
              <a:gd name="connsiteY38" fmla="*/ 271593 h 684856"/>
              <a:gd name="connsiteX39" fmla="*/ 119477 w 368434"/>
              <a:gd name="connsiteY39" fmla="*/ 225609 h 684856"/>
              <a:gd name="connsiteX40" fmla="*/ 101139 w 368434"/>
              <a:gd name="connsiteY40" fmla="*/ 231027 h 684856"/>
              <a:gd name="connsiteX41" fmla="*/ 147263 w 368434"/>
              <a:gd name="connsiteY41" fmla="*/ 121830 h 684856"/>
              <a:gd name="connsiteX42" fmla="*/ 166712 w 368434"/>
              <a:gd name="connsiteY42" fmla="*/ 4298 h 684856"/>
              <a:gd name="connsiteX43" fmla="*/ 166712 w 368434"/>
              <a:gd name="connsiteY43" fmla="*/ 4298 h 684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68434" h="684856">
                <a:moveTo>
                  <a:pt x="166712" y="4298"/>
                </a:moveTo>
                <a:cubicBezTo>
                  <a:pt x="167546" y="-1954"/>
                  <a:pt x="176298" y="-2510"/>
                  <a:pt x="177826" y="10272"/>
                </a:cubicBezTo>
                <a:cubicBezTo>
                  <a:pt x="185884" y="75151"/>
                  <a:pt x="186023" y="67093"/>
                  <a:pt x="200194" y="110438"/>
                </a:cubicBezTo>
                <a:cubicBezTo>
                  <a:pt x="212558" y="153922"/>
                  <a:pt x="244233" y="185181"/>
                  <a:pt x="267434" y="223108"/>
                </a:cubicBezTo>
                <a:cubicBezTo>
                  <a:pt x="263961" y="224775"/>
                  <a:pt x="232842" y="206298"/>
                  <a:pt x="229229" y="207687"/>
                </a:cubicBezTo>
                <a:cubicBezTo>
                  <a:pt x="234370" y="219218"/>
                  <a:pt x="267573" y="250615"/>
                  <a:pt x="273408" y="261729"/>
                </a:cubicBezTo>
                <a:cubicBezTo>
                  <a:pt x="269379" y="263952"/>
                  <a:pt x="247846" y="260062"/>
                  <a:pt x="243678" y="262146"/>
                </a:cubicBezTo>
                <a:cubicBezTo>
                  <a:pt x="248957" y="271177"/>
                  <a:pt x="271880" y="286042"/>
                  <a:pt x="277993" y="294794"/>
                </a:cubicBezTo>
                <a:cubicBezTo>
                  <a:pt x="272158" y="297295"/>
                  <a:pt x="246734" y="288404"/>
                  <a:pt x="240482" y="290487"/>
                </a:cubicBezTo>
                <a:cubicBezTo>
                  <a:pt x="249652" y="306325"/>
                  <a:pt x="279243" y="332721"/>
                  <a:pt x="290913" y="347586"/>
                </a:cubicBezTo>
                <a:cubicBezTo>
                  <a:pt x="283828" y="350226"/>
                  <a:pt x="244372" y="341474"/>
                  <a:pt x="237009" y="343557"/>
                </a:cubicBezTo>
                <a:cubicBezTo>
                  <a:pt x="247290" y="359256"/>
                  <a:pt x="290913" y="385652"/>
                  <a:pt x="303833" y="400240"/>
                </a:cubicBezTo>
                <a:cubicBezTo>
                  <a:pt x="295636" y="403018"/>
                  <a:pt x="271741" y="399545"/>
                  <a:pt x="263128" y="401629"/>
                </a:cubicBezTo>
                <a:cubicBezTo>
                  <a:pt x="274381" y="417189"/>
                  <a:pt x="302583" y="438306"/>
                  <a:pt x="316753" y="452893"/>
                </a:cubicBezTo>
                <a:cubicBezTo>
                  <a:pt x="307445" y="455671"/>
                  <a:pt x="286884" y="453727"/>
                  <a:pt x="276881" y="456088"/>
                </a:cubicBezTo>
                <a:cubicBezTo>
                  <a:pt x="289246" y="471648"/>
                  <a:pt x="314114" y="491098"/>
                  <a:pt x="329674" y="505685"/>
                </a:cubicBezTo>
                <a:cubicBezTo>
                  <a:pt x="319254" y="508603"/>
                  <a:pt x="281327" y="497766"/>
                  <a:pt x="270213" y="500128"/>
                </a:cubicBezTo>
                <a:cubicBezTo>
                  <a:pt x="283689" y="515549"/>
                  <a:pt x="325784" y="544029"/>
                  <a:pt x="342594" y="558477"/>
                </a:cubicBezTo>
                <a:cubicBezTo>
                  <a:pt x="330924" y="561395"/>
                  <a:pt x="299665" y="555838"/>
                  <a:pt x="287301" y="558200"/>
                </a:cubicBezTo>
                <a:cubicBezTo>
                  <a:pt x="301749" y="573621"/>
                  <a:pt x="337315" y="596821"/>
                  <a:pt x="355514" y="611270"/>
                </a:cubicBezTo>
                <a:cubicBezTo>
                  <a:pt x="342732" y="614187"/>
                  <a:pt x="329535" y="616966"/>
                  <a:pt x="315920" y="619327"/>
                </a:cubicBezTo>
                <a:cubicBezTo>
                  <a:pt x="331479" y="634748"/>
                  <a:pt x="348845" y="649614"/>
                  <a:pt x="368434" y="664062"/>
                </a:cubicBezTo>
                <a:cubicBezTo>
                  <a:pt x="259654" y="687541"/>
                  <a:pt x="121700" y="692403"/>
                  <a:pt x="0" y="672120"/>
                </a:cubicBezTo>
                <a:cubicBezTo>
                  <a:pt x="15977" y="656421"/>
                  <a:pt x="30425" y="640305"/>
                  <a:pt x="43484" y="624190"/>
                </a:cubicBezTo>
                <a:cubicBezTo>
                  <a:pt x="33203" y="622801"/>
                  <a:pt x="23062" y="621134"/>
                  <a:pt x="12920" y="619327"/>
                </a:cubicBezTo>
                <a:cubicBezTo>
                  <a:pt x="27785" y="603490"/>
                  <a:pt x="41261" y="587513"/>
                  <a:pt x="53348" y="571259"/>
                </a:cubicBezTo>
                <a:cubicBezTo>
                  <a:pt x="44040" y="569869"/>
                  <a:pt x="34871" y="568341"/>
                  <a:pt x="25840" y="566535"/>
                </a:cubicBezTo>
                <a:cubicBezTo>
                  <a:pt x="39733" y="550697"/>
                  <a:pt x="52098" y="534582"/>
                  <a:pt x="63351" y="518327"/>
                </a:cubicBezTo>
                <a:cubicBezTo>
                  <a:pt x="55015" y="516938"/>
                  <a:pt x="46818" y="515410"/>
                  <a:pt x="38761" y="513743"/>
                </a:cubicBezTo>
                <a:cubicBezTo>
                  <a:pt x="51542" y="497905"/>
                  <a:pt x="62934" y="481790"/>
                  <a:pt x="73353" y="465396"/>
                </a:cubicBezTo>
                <a:cubicBezTo>
                  <a:pt x="66129" y="464146"/>
                  <a:pt x="58905" y="462618"/>
                  <a:pt x="51681" y="460951"/>
                </a:cubicBezTo>
                <a:cubicBezTo>
                  <a:pt x="63351" y="444974"/>
                  <a:pt x="84051" y="419134"/>
                  <a:pt x="93637" y="402879"/>
                </a:cubicBezTo>
                <a:cubicBezTo>
                  <a:pt x="87385" y="401629"/>
                  <a:pt x="70853" y="409826"/>
                  <a:pt x="64740" y="408297"/>
                </a:cubicBezTo>
                <a:cubicBezTo>
                  <a:pt x="75298" y="392321"/>
                  <a:pt x="95026" y="367175"/>
                  <a:pt x="103639" y="350643"/>
                </a:cubicBezTo>
                <a:cubicBezTo>
                  <a:pt x="98360" y="349392"/>
                  <a:pt x="82800" y="357033"/>
                  <a:pt x="77660" y="355505"/>
                </a:cubicBezTo>
                <a:cubicBezTo>
                  <a:pt x="87107" y="339390"/>
                  <a:pt x="111142" y="313410"/>
                  <a:pt x="118782" y="296878"/>
                </a:cubicBezTo>
                <a:cubicBezTo>
                  <a:pt x="114476" y="295767"/>
                  <a:pt x="94748" y="304102"/>
                  <a:pt x="90580" y="302713"/>
                </a:cubicBezTo>
                <a:cubicBezTo>
                  <a:pt x="95304" y="293544"/>
                  <a:pt x="121700" y="268120"/>
                  <a:pt x="125868" y="258812"/>
                </a:cubicBezTo>
                <a:cubicBezTo>
                  <a:pt x="122950" y="257701"/>
                  <a:pt x="98082" y="272844"/>
                  <a:pt x="95165" y="271593"/>
                </a:cubicBezTo>
                <a:cubicBezTo>
                  <a:pt x="100166" y="259090"/>
                  <a:pt x="115031" y="238251"/>
                  <a:pt x="119477" y="225609"/>
                </a:cubicBezTo>
                <a:cubicBezTo>
                  <a:pt x="116838" y="224775"/>
                  <a:pt x="103778" y="231999"/>
                  <a:pt x="101139" y="231027"/>
                </a:cubicBezTo>
                <a:cubicBezTo>
                  <a:pt x="117949" y="194628"/>
                  <a:pt x="136843" y="160313"/>
                  <a:pt x="147263" y="121830"/>
                </a:cubicBezTo>
                <a:cubicBezTo>
                  <a:pt x="164906" y="41391"/>
                  <a:pt x="155459" y="82514"/>
                  <a:pt x="166712" y="4298"/>
                </a:cubicBezTo>
                <a:lnTo>
                  <a:pt x="166712" y="4298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185BB820-2532-3A64-B38A-5C9C03094F20}"/>
              </a:ext>
            </a:extLst>
          </p:cNvPr>
          <p:cNvSpPr/>
          <p:nvPr/>
        </p:nvSpPr>
        <p:spPr>
          <a:xfrm>
            <a:off x="2501607" y="11415831"/>
            <a:ext cx="6953986" cy="3587370"/>
          </a:xfrm>
          <a:custGeom>
            <a:avLst/>
            <a:gdLst>
              <a:gd name="connsiteX0" fmla="*/ 0 w 6953986"/>
              <a:gd name="connsiteY0" fmla="*/ 1564595 h 3587370"/>
              <a:gd name="connsiteX1" fmla="*/ 1457899 w 6953986"/>
              <a:gd name="connsiteY1" fmla="*/ 849260 h 3587370"/>
              <a:gd name="connsiteX2" fmla="*/ 2353978 w 6953986"/>
              <a:gd name="connsiteY2" fmla="*/ 302305 h 3587370"/>
              <a:gd name="connsiteX3" fmla="*/ 2935109 w 6953986"/>
              <a:gd name="connsiteY3" fmla="*/ 0 h 3587370"/>
              <a:gd name="connsiteX4" fmla="*/ 3140860 w 6953986"/>
              <a:gd name="connsiteY4" fmla="*/ 17644 h 3587370"/>
              <a:gd name="connsiteX5" fmla="*/ 3390789 w 6953986"/>
              <a:gd name="connsiteY5" fmla="*/ 85579 h 3587370"/>
              <a:gd name="connsiteX6" fmla="*/ 3593484 w 6953986"/>
              <a:gd name="connsiteY6" fmla="*/ 29453 h 3587370"/>
              <a:gd name="connsiteX7" fmla="*/ 3664059 w 6953986"/>
              <a:gd name="connsiteY7" fmla="*/ 100027 h 3587370"/>
              <a:gd name="connsiteX8" fmla="*/ 3881618 w 6953986"/>
              <a:gd name="connsiteY8" fmla="*/ 26257 h 3587370"/>
              <a:gd name="connsiteX9" fmla="*/ 3954277 w 6953986"/>
              <a:gd name="connsiteY9" fmla="*/ 4862 h 3587370"/>
              <a:gd name="connsiteX10" fmla="*/ 4049998 w 6953986"/>
              <a:gd name="connsiteY10" fmla="*/ 104751 h 3587370"/>
              <a:gd name="connsiteX11" fmla="*/ 4169475 w 6953986"/>
              <a:gd name="connsiteY11" fmla="*/ 200749 h 3587370"/>
              <a:gd name="connsiteX12" fmla="*/ 4239911 w 6953986"/>
              <a:gd name="connsiteY12" fmla="*/ 309529 h 3587370"/>
              <a:gd name="connsiteX13" fmla="*/ 4239911 w 6953986"/>
              <a:gd name="connsiteY13" fmla="*/ 416225 h 3587370"/>
              <a:gd name="connsiteX14" fmla="*/ 4203651 w 6953986"/>
              <a:gd name="connsiteY14" fmla="*/ 778963 h 3587370"/>
              <a:gd name="connsiteX15" fmla="*/ 5312427 w 6953986"/>
              <a:gd name="connsiteY15" fmla="*/ 1376766 h 3587370"/>
              <a:gd name="connsiteX16" fmla="*/ 5585279 w 6953986"/>
              <a:gd name="connsiteY16" fmla="*/ 1807022 h 3587370"/>
              <a:gd name="connsiteX17" fmla="*/ 6711142 w 6953986"/>
              <a:gd name="connsiteY17" fmla="*/ 2038614 h 3587370"/>
              <a:gd name="connsiteX18" fmla="*/ 6953987 w 6953986"/>
              <a:gd name="connsiteY18" fmla="*/ 2484430 h 3587370"/>
              <a:gd name="connsiteX19" fmla="*/ 6162104 w 6953986"/>
              <a:gd name="connsiteY19" fmla="*/ 3209073 h 3587370"/>
              <a:gd name="connsiteX20" fmla="*/ 1621277 w 6953986"/>
              <a:gd name="connsiteY20" fmla="*/ 3587371 h 3587370"/>
              <a:gd name="connsiteX21" fmla="*/ 128368 w 6953986"/>
              <a:gd name="connsiteY21" fmla="*/ 2548892 h 3587370"/>
              <a:gd name="connsiteX22" fmla="*/ 0 w 6953986"/>
              <a:gd name="connsiteY22" fmla="*/ 1564595 h 3587370"/>
              <a:gd name="connsiteX23" fmla="*/ 0 w 6953986"/>
              <a:gd name="connsiteY23" fmla="*/ 1564595 h 358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953986" h="3587370">
                <a:moveTo>
                  <a:pt x="0" y="1564595"/>
                </a:moveTo>
                <a:cubicBezTo>
                  <a:pt x="0" y="1564595"/>
                  <a:pt x="866487" y="1093355"/>
                  <a:pt x="1457899" y="849260"/>
                </a:cubicBezTo>
                <a:cubicBezTo>
                  <a:pt x="1831057" y="695190"/>
                  <a:pt x="2319941" y="315920"/>
                  <a:pt x="2353978" y="302305"/>
                </a:cubicBezTo>
                <a:cubicBezTo>
                  <a:pt x="2442196" y="267018"/>
                  <a:pt x="2935109" y="0"/>
                  <a:pt x="2935109" y="0"/>
                </a:cubicBezTo>
                <a:lnTo>
                  <a:pt x="3140860" y="17644"/>
                </a:lnTo>
                <a:lnTo>
                  <a:pt x="3390789" y="85579"/>
                </a:lnTo>
                <a:lnTo>
                  <a:pt x="3593484" y="29453"/>
                </a:lnTo>
                <a:lnTo>
                  <a:pt x="3664059" y="100027"/>
                </a:lnTo>
                <a:lnTo>
                  <a:pt x="3881618" y="26257"/>
                </a:lnTo>
                <a:lnTo>
                  <a:pt x="3954277" y="4862"/>
                </a:lnTo>
                <a:lnTo>
                  <a:pt x="4049998" y="104751"/>
                </a:lnTo>
                <a:lnTo>
                  <a:pt x="4169475" y="200749"/>
                </a:lnTo>
                <a:lnTo>
                  <a:pt x="4239911" y="309529"/>
                </a:lnTo>
                <a:lnTo>
                  <a:pt x="4239911" y="416225"/>
                </a:lnTo>
                <a:cubicBezTo>
                  <a:pt x="4239911" y="416225"/>
                  <a:pt x="4218516" y="721309"/>
                  <a:pt x="4203651" y="778963"/>
                </a:cubicBezTo>
                <a:cubicBezTo>
                  <a:pt x="4188786" y="836618"/>
                  <a:pt x="5206009" y="1240062"/>
                  <a:pt x="5312427" y="1376766"/>
                </a:cubicBezTo>
                <a:cubicBezTo>
                  <a:pt x="5418845" y="1513470"/>
                  <a:pt x="5585279" y="1807022"/>
                  <a:pt x="5585279" y="1807022"/>
                </a:cubicBezTo>
                <a:lnTo>
                  <a:pt x="6711142" y="2038614"/>
                </a:lnTo>
                <a:lnTo>
                  <a:pt x="6953987" y="2484430"/>
                </a:lnTo>
                <a:lnTo>
                  <a:pt x="6162104" y="3209073"/>
                </a:lnTo>
                <a:lnTo>
                  <a:pt x="1621277" y="3587371"/>
                </a:lnTo>
                <a:cubicBezTo>
                  <a:pt x="1621277" y="3587371"/>
                  <a:pt x="6807" y="2655171"/>
                  <a:pt x="128368" y="2548892"/>
                </a:cubicBezTo>
                <a:cubicBezTo>
                  <a:pt x="249652" y="2442335"/>
                  <a:pt x="0" y="1564595"/>
                  <a:pt x="0" y="1564595"/>
                </a:cubicBezTo>
                <a:lnTo>
                  <a:pt x="0" y="1564595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289F8BA0-76A1-8393-E455-DA769541E1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96299" y="10167545"/>
            <a:ext cx="723900" cy="146685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3AABC8A5-762E-385F-7F3B-35B1D71F1501}"/>
              </a:ext>
            </a:extLst>
          </p:cNvPr>
          <p:cNvSpPr txBox="1"/>
          <p:nvPr/>
        </p:nvSpPr>
        <p:spPr>
          <a:xfrm>
            <a:off x="476748" y="3213483"/>
            <a:ext cx="117852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ture" panose="020B0804020202020204" pitchFamily="34" charset="0"/>
                <a:ea typeface="+mn-ea"/>
                <a:cs typeface="+mn-cs"/>
              </a:rPr>
              <a:t>SUB 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E9A1AE-8152-52C5-C5AE-17B05AD5BA8B}"/>
              </a:ext>
            </a:extLst>
          </p:cNvPr>
          <p:cNvSpPr txBox="1"/>
          <p:nvPr/>
        </p:nvSpPr>
        <p:spPr>
          <a:xfrm>
            <a:off x="4138978" y="1833472"/>
            <a:ext cx="422019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ture" panose="020B0804020202020204" pitchFamily="34" charset="0"/>
                <a:ea typeface="+mn-ea"/>
                <a:cs typeface="+mn-cs"/>
              </a:rPr>
              <a:t>PERANCANGAN SIST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2F0F2A-8F19-EE97-4806-28C630F1E166}"/>
              </a:ext>
            </a:extLst>
          </p:cNvPr>
          <p:cNvSpPr txBox="1"/>
          <p:nvPr/>
        </p:nvSpPr>
        <p:spPr>
          <a:xfrm>
            <a:off x="4397026" y="2622701"/>
            <a:ext cx="707453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Montserrat" panose="00000500000000000000" pitchFamily="50" charset="0"/>
              </a:rPr>
              <a:t>P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erancang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berkait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eng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erancang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iste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informa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Beberap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tekni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-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tekni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iste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 yang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igunak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ala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endokumentasi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rancang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iste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informasi</a:t>
            </a:r>
            <a:r>
              <a:rPr lang="en-US" sz="1400" dirty="0">
                <a:solidFill>
                  <a:prstClr val="black"/>
                </a:solidFill>
                <a:latin typeface="Montserrat" panose="00000500000000000000" pitchFamily="50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Montserrat" panose="00000500000000000000" pitchFamily="50" charset="0"/>
              </a:rPr>
              <a:t>seperti</a:t>
            </a:r>
            <a:r>
              <a:rPr lang="en-US" sz="1400" dirty="0">
                <a:solidFill>
                  <a:prstClr val="black"/>
                </a:solidFill>
                <a:latin typeface="Montserrat" panose="00000500000000000000" pitchFamily="50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Montserrat" panose="00000500000000000000" pitchFamily="50" charset="0"/>
              </a:rPr>
              <a:t>ba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g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IPO dan HIPO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bag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ru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program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encabang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d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tabe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keputus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.</a:t>
            </a:r>
          </a:p>
        </p:txBody>
      </p:sp>
      <p:pic>
        <p:nvPicPr>
          <p:cNvPr id="2" name="Picture 1" descr="A person standing next to a backpack&#10;&#10;Description automatically generated with low confidence">
            <a:extLst>
              <a:ext uri="{FF2B5EF4-FFF2-40B4-BE49-F238E27FC236}">
                <a16:creationId xmlns:a16="http://schemas.microsoft.com/office/drawing/2014/main" id="{6AF88022-A31F-B070-7D69-60BD2ECB4F1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26" t="1365" r="37362" b="2095"/>
          <a:stretch/>
        </p:blipFill>
        <p:spPr>
          <a:xfrm rot="7909320">
            <a:off x="-687649" y="4011335"/>
            <a:ext cx="874912" cy="1869624"/>
          </a:xfrm>
          <a:custGeom>
            <a:avLst/>
            <a:gdLst>
              <a:gd name="connsiteX0" fmla="*/ 595292 w 874912"/>
              <a:gd name="connsiteY0" fmla="*/ 0 h 1869624"/>
              <a:gd name="connsiteX1" fmla="*/ 630050 w 874912"/>
              <a:gd name="connsiteY1" fmla="*/ 0 h 1869624"/>
              <a:gd name="connsiteX2" fmla="*/ 725835 w 874912"/>
              <a:gd name="connsiteY2" fmla="*/ 209211 h 1869624"/>
              <a:gd name="connsiteX3" fmla="*/ 693430 w 874912"/>
              <a:gd name="connsiteY3" fmla="*/ 1869624 h 1869624"/>
              <a:gd name="connsiteX4" fmla="*/ 61342 w 874912"/>
              <a:gd name="connsiteY4" fmla="*/ 1593703 h 1869624"/>
              <a:gd name="connsiteX5" fmla="*/ 87374 w 874912"/>
              <a:gd name="connsiteY5" fmla="*/ 1534048 h 1869624"/>
              <a:gd name="connsiteX6" fmla="*/ 62947 w 874912"/>
              <a:gd name="connsiteY6" fmla="*/ 441931 h 1869624"/>
              <a:gd name="connsiteX7" fmla="*/ 0 w 874912"/>
              <a:gd name="connsiteY7" fmla="*/ 314475 h 1869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4912" h="1869624">
                <a:moveTo>
                  <a:pt x="595292" y="0"/>
                </a:moveTo>
                <a:lnTo>
                  <a:pt x="630050" y="0"/>
                </a:lnTo>
                <a:lnTo>
                  <a:pt x="725835" y="209211"/>
                </a:lnTo>
                <a:cubicBezTo>
                  <a:pt x="934100" y="741983"/>
                  <a:pt x="924930" y="1339298"/>
                  <a:pt x="693430" y="1869624"/>
                </a:cubicBezTo>
                <a:lnTo>
                  <a:pt x="61342" y="1593703"/>
                </a:lnTo>
                <a:lnTo>
                  <a:pt x="87374" y="1534048"/>
                </a:lnTo>
                <a:cubicBezTo>
                  <a:pt x="220133" y="1184271"/>
                  <a:pt x="214188" y="790993"/>
                  <a:pt x="62947" y="441931"/>
                </a:cubicBezTo>
                <a:lnTo>
                  <a:pt x="0" y="314475"/>
                </a:lnTo>
                <a:close/>
              </a:path>
            </a:pathLst>
          </a:custGeom>
        </p:spPr>
      </p:pic>
      <p:pic>
        <p:nvPicPr>
          <p:cNvPr id="3" name="Picture 2" descr="A picture containing underwater, diving, coral reef, organism&#10;&#10;Description automatically generated">
            <a:extLst>
              <a:ext uri="{FF2B5EF4-FFF2-40B4-BE49-F238E27FC236}">
                <a16:creationId xmlns:a16="http://schemas.microsoft.com/office/drawing/2014/main" id="{5223FCA4-96CB-17C3-AB9F-3A1376ABAFC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75" t="414" r="50149" b="6697"/>
          <a:stretch/>
        </p:blipFill>
        <p:spPr>
          <a:xfrm rot="11113692">
            <a:off x="-1328987" y="2575528"/>
            <a:ext cx="886132" cy="1880822"/>
          </a:xfrm>
          <a:custGeom>
            <a:avLst/>
            <a:gdLst>
              <a:gd name="connsiteX0" fmla="*/ 598352 w 886132"/>
              <a:gd name="connsiteY0" fmla="*/ 0 h 1880822"/>
              <a:gd name="connsiteX1" fmla="*/ 733462 w 886132"/>
              <a:gd name="connsiteY1" fmla="*/ 1880822 h 1880822"/>
              <a:gd name="connsiteX2" fmla="*/ 83309 w 886132"/>
              <a:gd name="connsiteY2" fmla="*/ 1623344 h 1880822"/>
              <a:gd name="connsiteX3" fmla="*/ 118493 w 886132"/>
              <a:gd name="connsiteY3" fmla="*/ 1534532 h 1880822"/>
              <a:gd name="connsiteX4" fmla="*/ 191706 w 886132"/>
              <a:gd name="connsiteY4" fmla="*/ 963376 h 1880822"/>
              <a:gd name="connsiteX5" fmla="*/ 37593 w 886132"/>
              <a:gd name="connsiteY5" fmla="*/ 408553 h 1880822"/>
              <a:gd name="connsiteX6" fmla="*/ 0 w 886132"/>
              <a:gd name="connsiteY6" fmla="*/ 342991 h 1880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6132" h="1880822">
                <a:moveTo>
                  <a:pt x="598352" y="0"/>
                </a:moveTo>
                <a:cubicBezTo>
                  <a:pt x="927225" y="573724"/>
                  <a:pt x="976953" y="1265981"/>
                  <a:pt x="733462" y="1880822"/>
                </a:cubicBezTo>
                <a:lnTo>
                  <a:pt x="83309" y="1623344"/>
                </a:lnTo>
                <a:lnTo>
                  <a:pt x="118493" y="1534532"/>
                </a:lnTo>
                <a:cubicBezTo>
                  <a:pt x="179250" y="1356233"/>
                  <a:pt x="206054" y="1163077"/>
                  <a:pt x="191706" y="963376"/>
                </a:cubicBezTo>
                <a:cubicBezTo>
                  <a:pt x="177358" y="763675"/>
                  <a:pt x="123216" y="576334"/>
                  <a:pt x="37593" y="408553"/>
                </a:cubicBezTo>
                <a:lnTo>
                  <a:pt x="0" y="342991"/>
                </a:lnTo>
                <a:close/>
              </a:path>
            </a:pathLst>
          </a:custGeom>
        </p:spPr>
      </p:pic>
      <p:pic>
        <p:nvPicPr>
          <p:cNvPr id="5" name="Picture 4" descr="A grey fox sitting on a log&#10;&#10;Description automatically generated with medium confidence">
            <a:extLst>
              <a:ext uri="{FF2B5EF4-FFF2-40B4-BE49-F238E27FC236}">
                <a16:creationId xmlns:a16="http://schemas.microsoft.com/office/drawing/2014/main" id="{9AAA426D-B917-DAB5-2D96-6A936190CA7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24" t="-17" r="5530" b="580"/>
          <a:stretch/>
        </p:blipFill>
        <p:spPr>
          <a:xfrm rot="14325271">
            <a:off x="-669165" y="1187291"/>
            <a:ext cx="922163" cy="1874659"/>
          </a:xfrm>
          <a:custGeom>
            <a:avLst/>
            <a:gdLst>
              <a:gd name="connsiteX0" fmla="*/ 593530 w 922163"/>
              <a:gd name="connsiteY0" fmla="*/ 0 h 1874659"/>
              <a:gd name="connsiteX1" fmla="*/ 797423 w 922163"/>
              <a:gd name="connsiteY1" fmla="*/ 1874659 h 1874659"/>
              <a:gd name="connsiteX2" fmla="*/ 112453 w 922163"/>
              <a:gd name="connsiteY2" fmla="*/ 1632004 h 1874659"/>
              <a:gd name="connsiteX3" fmla="*/ 113897 w 922163"/>
              <a:gd name="connsiteY3" fmla="*/ 1628715 h 1874659"/>
              <a:gd name="connsiteX4" fmla="*/ 23880 w 922163"/>
              <a:gd name="connsiteY4" fmla="*/ 408092 h 1874659"/>
              <a:gd name="connsiteX5" fmla="*/ 0 w 922163"/>
              <a:gd name="connsiteY5" fmla="*/ 369749 h 1874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2163" h="1874659">
                <a:moveTo>
                  <a:pt x="593530" y="0"/>
                </a:moveTo>
                <a:cubicBezTo>
                  <a:pt x="943206" y="561308"/>
                  <a:pt x="1018253" y="1251301"/>
                  <a:pt x="797423" y="1874659"/>
                </a:cubicBezTo>
                <a:lnTo>
                  <a:pt x="112453" y="1632004"/>
                </a:lnTo>
                <a:lnTo>
                  <a:pt x="113897" y="1628715"/>
                </a:lnTo>
                <a:cubicBezTo>
                  <a:pt x="267863" y="1223381"/>
                  <a:pt x="228725" y="775771"/>
                  <a:pt x="23880" y="408092"/>
                </a:cubicBezTo>
                <a:lnTo>
                  <a:pt x="0" y="369749"/>
                </a:lnTo>
                <a:close/>
              </a:path>
            </a:pathLst>
          </a:custGeom>
        </p:spPr>
      </p:pic>
      <p:pic>
        <p:nvPicPr>
          <p:cNvPr id="7" name="Picture 6" descr="A car parked in a parking lot&#10;&#10;Description automatically generated with low confidence">
            <a:extLst>
              <a:ext uri="{FF2B5EF4-FFF2-40B4-BE49-F238E27FC236}">
                <a16:creationId xmlns:a16="http://schemas.microsoft.com/office/drawing/2014/main" id="{B3A13106-D495-BF30-DC4C-FC95B59D1B0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07" t="1871" r="21821" b="1016"/>
          <a:stretch/>
        </p:blipFill>
        <p:spPr>
          <a:xfrm rot="17594764">
            <a:off x="809570" y="879504"/>
            <a:ext cx="988046" cy="1861085"/>
          </a:xfrm>
          <a:custGeom>
            <a:avLst/>
            <a:gdLst>
              <a:gd name="connsiteX0" fmla="*/ 595376 w 988046"/>
              <a:gd name="connsiteY0" fmla="*/ 0 h 1861085"/>
              <a:gd name="connsiteX1" fmla="*/ 899148 w 988046"/>
              <a:gd name="connsiteY1" fmla="*/ 1861085 h 1861085"/>
              <a:gd name="connsiteX2" fmla="*/ 177353 w 988046"/>
              <a:gd name="connsiteY2" fmla="*/ 1648046 h 1861085"/>
              <a:gd name="connsiteX3" fmla="*/ 211504 w 988046"/>
              <a:gd name="connsiteY3" fmla="*/ 1517512 h 1861085"/>
              <a:gd name="connsiteX4" fmla="*/ 135531 w 988046"/>
              <a:gd name="connsiteY4" fmla="*/ 673183 h 1861085"/>
              <a:gd name="connsiteX5" fmla="*/ 72749 w 988046"/>
              <a:gd name="connsiteY5" fmla="*/ 538659 h 1861085"/>
              <a:gd name="connsiteX6" fmla="*/ 0 w 988046"/>
              <a:gd name="connsiteY6" fmla="*/ 416647 h 1861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8046" h="1861085">
                <a:moveTo>
                  <a:pt x="595376" y="0"/>
                </a:moveTo>
                <a:cubicBezTo>
                  <a:pt x="974545" y="541822"/>
                  <a:pt x="1086352" y="1226818"/>
                  <a:pt x="899148" y="1861085"/>
                </a:cubicBezTo>
                <a:lnTo>
                  <a:pt x="177353" y="1648046"/>
                </a:lnTo>
                <a:lnTo>
                  <a:pt x="211504" y="1517512"/>
                </a:lnTo>
                <a:cubicBezTo>
                  <a:pt x="269169" y="1244228"/>
                  <a:pt x="248652" y="951387"/>
                  <a:pt x="135531" y="673183"/>
                </a:cubicBezTo>
                <a:cubicBezTo>
                  <a:pt x="116677" y="626816"/>
                  <a:pt x="95697" y="581952"/>
                  <a:pt x="72749" y="538659"/>
                </a:cubicBezTo>
                <a:lnTo>
                  <a:pt x="0" y="416647"/>
                </a:lnTo>
                <a:close/>
              </a:path>
            </a:pathLst>
          </a:custGeom>
        </p:spPr>
      </p:pic>
      <p:pic>
        <p:nvPicPr>
          <p:cNvPr id="11" name="Picture 10" descr="A picture containing fruit, orange, citrus&#10;&#10;Description automatically generated">
            <a:extLst>
              <a:ext uri="{FF2B5EF4-FFF2-40B4-BE49-F238E27FC236}">
                <a16:creationId xmlns:a16="http://schemas.microsoft.com/office/drawing/2014/main" id="{A243C13B-2ED7-C101-2A68-2EB2032A4438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47" t="519" r="14347" b="-1264"/>
          <a:stretch/>
        </p:blipFill>
        <p:spPr>
          <a:xfrm rot="1794091">
            <a:off x="2060297" y="3400010"/>
            <a:ext cx="931683" cy="1883012"/>
          </a:xfrm>
          <a:custGeom>
            <a:avLst/>
            <a:gdLst>
              <a:gd name="connsiteX0" fmla="*/ 663201 w 931683"/>
              <a:gd name="connsiteY0" fmla="*/ 0 h 1883012"/>
              <a:gd name="connsiteX1" fmla="*/ 764145 w 931683"/>
              <a:gd name="connsiteY1" fmla="*/ 1883012 h 1883012"/>
              <a:gd name="connsiteX2" fmla="*/ 85112 w 931683"/>
              <a:gd name="connsiteY2" fmla="*/ 1599722 h 1883012"/>
              <a:gd name="connsiteX3" fmla="*/ 127270 w 931683"/>
              <a:gd name="connsiteY3" fmla="*/ 1476942 h 1883012"/>
              <a:gd name="connsiteX4" fmla="*/ 5811 w 931683"/>
              <a:gd name="connsiteY4" fmla="*/ 373757 h 1883012"/>
              <a:gd name="connsiteX5" fmla="*/ 0 w 931683"/>
              <a:gd name="connsiteY5" fmla="*/ 364339 h 1883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1683" h="1883012">
                <a:moveTo>
                  <a:pt x="663201" y="0"/>
                </a:moveTo>
                <a:cubicBezTo>
                  <a:pt x="981620" y="579612"/>
                  <a:pt x="1018774" y="1272680"/>
                  <a:pt x="764145" y="1883012"/>
                </a:cubicBezTo>
                <a:lnTo>
                  <a:pt x="85112" y="1599722"/>
                </a:lnTo>
                <a:lnTo>
                  <a:pt x="127270" y="1476942"/>
                </a:lnTo>
                <a:cubicBezTo>
                  <a:pt x="230914" y="1120599"/>
                  <a:pt x="198616" y="724715"/>
                  <a:pt x="5811" y="373757"/>
                </a:cubicBezTo>
                <a:lnTo>
                  <a:pt x="0" y="364339"/>
                </a:lnTo>
                <a:close/>
              </a:path>
            </a:pathLst>
          </a:custGeom>
        </p:spPr>
      </p:pic>
      <p:pic>
        <p:nvPicPr>
          <p:cNvPr id="15" name="Picture 14" descr="A picture containing reef, red&#10;&#10;Description automatically generated">
            <a:extLst>
              <a:ext uri="{FF2B5EF4-FFF2-40B4-BE49-F238E27FC236}">
                <a16:creationId xmlns:a16="http://schemas.microsoft.com/office/drawing/2014/main" id="{323E285E-BD2F-0272-B0D7-2259C90FE5DC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" r="33298" b="6961"/>
          <a:stretch/>
        </p:blipFill>
        <p:spPr>
          <a:xfrm rot="5467120">
            <a:off x="806373" y="4370545"/>
            <a:ext cx="1049351" cy="1838435"/>
          </a:xfrm>
          <a:custGeom>
            <a:avLst/>
            <a:gdLst>
              <a:gd name="connsiteX0" fmla="*/ 575238 w 1049351"/>
              <a:gd name="connsiteY0" fmla="*/ 0 h 1838435"/>
              <a:gd name="connsiteX1" fmla="*/ 994849 w 1049351"/>
              <a:gd name="connsiteY1" fmla="*/ 1838435 h 1838435"/>
              <a:gd name="connsiteX2" fmla="*/ 307617 w 1049351"/>
              <a:gd name="connsiteY2" fmla="*/ 1681579 h 1838435"/>
              <a:gd name="connsiteX3" fmla="*/ 307950 w 1049351"/>
              <a:gd name="connsiteY3" fmla="*/ 1680284 h 1838435"/>
              <a:gd name="connsiteX4" fmla="*/ 337410 w 1049351"/>
              <a:gd name="connsiteY4" fmla="*/ 1388040 h 1838435"/>
              <a:gd name="connsiteX5" fmla="*/ 6280 w 1049351"/>
              <a:gd name="connsiteY5" fmla="*/ 465647 h 1838435"/>
              <a:gd name="connsiteX6" fmla="*/ 0 w 1049351"/>
              <a:gd name="connsiteY6" fmla="*/ 458737 h 1838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9351" h="1838435">
                <a:moveTo>
                  <a:pt x="575238" y="0"/>
                </a:moveTo>
                <a:cubicBezTo>
                  <a:pt x="987563" y="517039"/>
                  <a:pt x="1142005" y="1193699"/>
                  <a:pt x="994849" y="1838435"/>
                </a:cubicBezTo>
                <a:lnTo>
                  <a:pt x="307617" y="1681579"/>
                </a:lnTo>
                <a:lnTo>
                  <a:pt x="307950" y="1680284"/>
                </a:lnTo>
                <a:cubicBezTo>
                  <a:pt x="327266" y="1585887"/>
                  <a:pt x="337410" y="1488148"/>
                  <a:pt x="337410" y="1388040"/>
                </a:cubicBezTo>
                <a:cubicBezTo>
                  <a:pt x="337410" y="1037662"/>
                  <a:pt x="213145" y="716308"/>
                  <a:pt x="6280" y="465647"/>
                </a:cubicBezTo>
                <a:lnTo>
                  <a:pt x="0" y="458737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7E36B0-97A3-1152-05A0-FDBCE57D67C7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02" t="14338" r="24694" b="3682"/>
          <a:stretch/>
        </p:blipFill>
        <p:spPr>
          <a:xfrm rot="20352921">
            <a:off x="2370847" y="1352013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063396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A61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A701ECC-4575-B0F8-3C1C-64B7A94A25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Graphic 97">
            <a:extLst>
              <a:ext uri="{FF2B5EF4-FFF2-40B4-BE49-F238E27FC236}">
                <a16:creationId xmlns:a16="http://schemas.microsoft.com/office/drawing/2014/main" id="{6CB064C2-0534-940B-B587-0DBFF97508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44296" y="12722369"/>
            <a:ext cx="2343150" cy="2505075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328AC1FC-2D13-79DD-2FDE-7A95C54E8F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22529" y="11968832"/>
            <a:ext cx="1962150" cy="424815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1A0483C2-2F61-BDD0-D5BF-E6DA58D984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7077" y="12440644"/>
            <a:ext cx="2609850" cy="2495550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38C3E33A-4175-307B-20E6-EF2F4D5209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39421" y="10474469"/>
            <a:ext cx="2590800" cy="22479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1F276410-8C8D-165A-460F-04E2629BCC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64779" y="7762985"/>
            <a:ext cx="4620435" cy="3924885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1C7E28D4-5383-5486-BC27-4000DE6E69C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955662" y="12184689"/>
            <a:ext cx="1285875" cy="581025"/>
          </a:xfrm>
          <a:prstGeom prst="rect">
            <a:avLst/>
          </a:prstGeom>
        </p:spPr>
      </p:pic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B55FED0F-3F3B-9278-9BC1-77375FC53FE4}"/>
              </a:ext>
            </a:extLst>
          </p:cNvPr>
          <p:cNvSpPr/>
          <p:nvPr/>
        </p:nvSpPr>
        <p:spPr>
          <a:xfrm>
            <a:off x="2234447" y="4572461"/>
            <a:ext cx="8952999" cy="2270190"/>
          </a:xfrm>
          <a:custGeom>
            <a:avLst/>
            <a:gdLst>
              <a:gd name="connsiteX0" fmla="*/ 4493976 w 8952999"/>
              <a:gd name="connsiteY0" fmla="*/ 0 h 2270190"/>
              <a:gd name="connsiteX1" fmla="*/ 4881940 w 8952999"/>
              <a:gd name="connsiteY1" fmla="*/ 158928 h 2270190"/>
              <a:gd name="connsiteX2" fmla="*/ 5870253 w 8952999"/>
              <a:gd name="connsiteY2" fmla="*/ 758659 h 2270190"/>
              <a:gd name="connsiteX3" fmla="*/ 7245708 w 8952999"/>
              <a:gd name="connsiteY3" fmla="*/ 800601 h 2270190"/>
              <a:gd name="connsiteX4" fmla="*/ 8952999 w 8952999"/>
              <a:gd name="connsiteY4" fmla="*/ 758659 h 2270190"/>
              <a:gd name="connsiteX5" fmla="*/ 5606716 w 8952999"/>
              <a:gd name="connsiteY5" fmla="*/ 2221159 h 2270190"/>
              <a:gd name="connsiteX6" fmla="*/ 5473004 w 8952999"/>
              <a:gd name="connsiteY6" fmla="*/ 2270190 h 2270190"/>
              <a:gd name="connsiteX7" fmla="*/ 4543439 w 8952999"/>
              <a:gd name="connsiteY7" fmla="*/ 2270190 h 2270190"/>
              <a:gd name="connsiteX8" fmla="*/ 4436704 w 8952999"/>
              <a:gd name="connsiteY8" fmla="*/ 2248440 h 2270190"/>
              <a:gd name="connsiteX9" fmla="*/ 2066061 w 8952999"/>
              <a:gd name="connsiteY9" fmla="*/ 1455433 h 2270190"/>
              <a:gd name="connsiteX10" fmla="*/ 0 w 8952999"/>
              <a:gd name="connsiteY10" fmla="*/ 392899 h 2270190"/>
              <a:gd name="connsiteX11" fmla="*/ 2344853 w 8952999"/>
              <a:gd name="connsiteY11" fmla="*/ 514819 h 2270190"/>
              <a:gd name="connsiteX12" fmla="*/ 4493976 w 8952999"/>
              <a:gd name="connsiteY12" fmla="*/ 0 h 2270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952999" h="2270190">
                <a:moveTo>
                  <a:pt x="4493976" y="0"/>
                </a:moveTo>
                <a:cubicBezTo>
                  <a:pt x="4493976" y="0"/>
                  <a:pt x="4554010" y="71754"/>
                  <a:pt x="4881940" y="158928"/>
                </a:cubicBezTo>
                <a:cubicBezTo>
                  <a:pt x="5209870" y="246102"/>
                  <a:pt x="5345565" y="671691"/>
                  <a:pt x="5870253" y="758659"/>
                </a:cubicBezTo>
                <a:cubicBezTo>
                  <a:pt x="6394941" y="845627"/>
                  <a:pt x="7116592" y="834319"/>
                  <a:pt x="7245708" y="800601"/>
                </a:cubicBezTo>
                <a:cubicBezTo>
                  <a:pt x="7374824" y="766883"/>
                  <a:pt x="8952999" y="758659"/>
                  <a:pt x="8952999" y="758659"/>
                </a:cubicBezTo>
                <a:cubicBezTo>
                  <a:pt x="8952999" y="758659"/>
                  <a:pt x="6567011" y="1854616"/>
                  <a:pt x="5606716" y="2221159"/>
                </a:cubicBezTo>
                <a:lnTo>
                  <a:pt x="5473004" y="2270190"/>
                </a:lnTo>
                <a:lnTo>
                  <a:pt x="4543439" y="2270190"/>
                </a:lnTo>
                <a:lnTo>
                  <a:pt x="4436704" y="2248440"/>
                </a:lnTo>
                <a:cubicBezTo>
                  <a:pt x="3575643" y="2049161"/>
                  <a:pt x="2541418" y="1567806"/>
                  <a:pt x="2066061" y="1455433"/>
                </a:cubicBezTo>
                <a:cubicBezTo>
                  <a:pt x="1374632" y="1291982"/>
                  <a:pt x="0" y="392899"/>
                  <a:pt x="0" y="392899"/>
                </a:cubicBezTo>
                <a:cubicBezTo>
                  <a:pt x="0" y="392899"/>
                  <a:pt x="2000475" y="567041"/>
                  <a:pt x="2344853" y="514819"/>
                </a:cubicBezTo>
                <a:cubicBezTo>
                  <a:pt x="2689230" y="462597"/>
                  <a:pt x="4493976" y="0"/>
                  <a:pt x="4493976" y="0"/>
                </a:cubicBezTo>
                <a:close/>
              </a:path>
            </a:pathLst>
          </a:custGeom>
          <a:solidFill>
            <a:srgbClr val="F38532"/>
          </a:solidFill>
          <a:ln w="2056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AB99E9EB-D16D-6418-5E4D-905386A3EA6D}"/>
              </a:ext>
            </a:extLst>
          </p:cNvPr>
          <p:cNvSpPr/>
          <p:nvPr/>
        </p:nvSpPr>
        <p:spPr>
          <a:xfrm>
            <a:off x="-502918" y="4359385"/>
            <a:ext cx="10277025" cy="2483266"/>
          </a:xfrm>
          <a:custGeom>
            <a:avLst/>
            <a:gdLst>
              <a:gd name="connsiteX0" fmla="*/ 1496917 w 10277025"/>
              <a:gd name="connsiteY0" fmla="*/ 6 h 2483266"/>
              <a:gd name="connsiteX1" fmla="*/ 1728738 w 10277025"/>
              <a:gd name="connsiteY1" fmla="*/ 63400 h 2483266"/>
              <a:gd name="connsiteX2" fmla="*/ 2929316 w 10277025"/>
              <a:gd name="connsiteY2" fmla="*/ 597957 h 2483266"/>
              <a:gd name="connsiteX3" fmla="*/ 5788009 w 10277025"/>
              <a:gd name="connsiteY3" fmla="*/ 1915432 h 2483266"/>
              <a:gd name="connsiteX4" fmla="*/ 7837992 w 10277025"/>
              <a:gd name="connsiteY4" fmla="*/ 2290650 h 2483266"/>
              <a:gd name="connsiteX5" fmla="*/ 9898739 w 10277025"/>
              <a:gd name="connsiteY5" fmla="*/ 1785905 h 2483266"/>
              <a:gd name="connsiteX6" fmla="*/ 10277025 w 10277025"/>
              <a:gd name="connsiteY6" fmla="*/ 2483266 h 2483266"/>
              <a:gd name="connsiteX7" fmla="*/ 518940 w 10277025"/>
              <a:gd name="connsiteY7" fmla="*/ 2483266 h 2483266"/>
              <a:gd name="connsiteX8" fmla="*/ 488547 w 10277025"/>
              <a:gd name="connsiteY8" fmla="*/ 2419974 h 2483266"/>
              <a:gd name="connsiteX9" fmla="*/ 0 w 10277025"/>
              <a:gd name="connsiteY9" fmla="*/ 549846 h 2483266"/>
              <a:gd name="connsiteX10" fmla="*/ 440312 w 10277025"/>
              <a:gd name="connsiteY10" fmla="*/ 360490 h 2483266"/>
              <a:gd name="connsiteX11" fmla="*/ 1496917 w 10277025"/>
              <a:gd name="connsiteY11" fmla="*/ 6 h 2483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277025" h="2483266">
                <a:moveTo>
                  <a:pt x="1496917" y="6"/>
                </a:moveTo>
                <a:cubicBezTo>
                  <a:pt x="1570201" y="381"/>
                  <a:pt x="1646381" y="18837"/>
                  <a:pt x="1728738" y="63400"/>
                </a:cubicBezTo>
                <a:cubicBezTo>
                  <a:pt x="2167974" y="300867"/>
                  <a:pt x="2460797" y="508932"/>
                  <a:pt x="2929316" y="597957"/>
                </a:cubicBezTo>
                <a:cubicBezTo>
                  <a:pt x="3397834" y="686981"/>
                  <a:pt x="5788009" y="1915432"/>
                  <a:pt x="5788009" y="1915432"/>
                </a:cubicBezTo>
                <a:cubicBezTo>
                  <a:pt x="5788009" y="1915432"/>
                  <a:pt x="7515886" y="2290650"/>
                  <a:pt x="7837992" y="2290650"/>
                </a:cubicBezTo>
                <a:cubicBezTo>
                  <a:pt x="8160097" y="2290650"/>
                  <a:pt x="9898739" y="1785905"/>
                  <a:pt x="9898739" y="1785905"/>
                </a:cubicBezTo>
                <a:lnTo>
                  <a:pt x="10277025" y="2483266"/>
                </a:lnTo>
                <a:lnTo>
                  <a:pt x="518940" y="2483266"/>
                </a:lnTo>
                <a:lnTo>
                  <a:pt x="488547" y="2419974"/>
                </a:lnTo>
                <a:cubicBezTo>
                  <a:pt x="227854" y="1837582"/>
                  <a:pt x="59184" y="1208662"/>
                  <a:pt x="0" y="549846"/>
                </a:cubicBezTo>
                <a:cubicBezTo>
                  <a:pt x="147704" y="441085"/>
                  <a:pt x="296700" y="367480"/>
                  <a:pt x="440312" y="360490"/>
                </a:cubicBezTo>
                <a:cubicBezTo>
                  <a:pt x="916152" y="336268"/>
                  <a:pt x="1179350" y="-1620"/>
                  <a:pt x="1496917" y="6"/>
                </a:cubicBezTo>
                <a:close/>
              </a:path>
            </a:pathLst>
          </a:custGeom>
          <a:solidFill>
            <a:srgbClr val="F0743E"/>
          </a:solidFill>
          <a:ln w="2056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A5A7A9DA-34DF-1625-282D-BC3567C00D47}"/>
              </a:ext>
            </a:extLst>
          </p:cNvPr>
          <p:cNvSpPr/>
          <p:nvPr/>
        </p:nvSpPr>
        <p:spPr>
          <a:xfrm>
            <a:off x="6233448" y="4425664"/>
            <a:ext cx="6598632" cy="2416987"/>
          </a:xfrm>
          <a:custGeom>
            <a:avLst/>
            <a:gdLst>
              <a:gd name="connsiteX0" fmla="*/ 6598632 w 6598632"/>
              <a:gd name="connsiteY0" fmla="*/ 0 h 2416987"/>
              <a:gd name="connsiteX1" fmla="*/ 6110935 w 6598632"/>
              <a:gd name="connsiteY1" fmla="*/ 2274416 h 2416987"/>
              <a:gd name="connsiteX2" fmla="*/ 6042637 w 6598632"/>
              <a:gd name="connsiteY2" fmla="*/ 2416987 h 2416987"/>
              <a:gd name="connsiteX3" fmla="*/ 0 w 6598632"/>
              <a:gd name="connsiteY3" fmla="*/ 2416987 h 2416987"/>
              <a:gd name="connsiteX4" fmla="*/ 69744 w 6598632"/>
              <a:gd name="connsiteY4" fmla="*/ 2383351 h 2416987"/>
              <a:gd name="connsiteX5" fmla="*/ 877768 w 6598632"/>
              <a:gd name="connsiteY5" fmla="*/ 1957299 h 2416987"/>
              <a:gd name="connsiteX6" fmla="*/ 1835426 w 6598632"/>
              <a:gd name="connsiteY6" fmla="*/ 1749439 h 2416987"/>
              <a:gd name="connsiteX7" fmla="*/ 2673377 w 6598632"/>
              <a:gd name="connsiteY7" fmla="*/ 1511767 h 2416987"/>
              <a:gd name="connsiteX8" fmla="*/ 3690889 w 6598632"/>
              <a:gd name="connsiteY8" fmla="*/ 947398 h 2416987"/>
              <a:gd name="connsiteX9" fmla="*/ 5099430 w 6598632"/>
              <a:gd name="connsiteY9" fmla="*/ 686083 h 2416987"/>
              <a:gd name="connsiteX10" fmla="*/ 6598632 w 6598632"/>
              <a:gd name="connsiteY10" fmla="*/ 0 h 2416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98632" h="2416987">
                <a:moveTo>
                  <a:pt x="6598632" y="0"/>
                </a:moveTo>
                <a:cubicBezTo>
                  <a:pt x="6592278" y="804688"/>
                  <a:pt x="6419535" y="1572338"/>
                  <a:pt x="6110935" y="2274416"/>
                </a:cubicBezTo>
                <a:lnTo>
                  <a:pt x="6042637" y="2416987"/>
                </a:lnTo>
                <a:lnTo>
                  <a:pt x="0" y="2416987"/>
                </a:lnTo>
                <a:lnTo>
                  <a:pt x="69744" y="2383351"/>
                </a:lnTo>
                <a:cubicBezTo>
                  <a:pt x="423254" y="2207911"/>
                  <a:pt x="877768" y="1957299"/>
                  <a:pt x="877768" y="1957299"/>
                </a:cubicBezTo>
                <a:cubicBezTo>
                  <a:pt x="877768" y="1957299"/>
                  <a:pt x="1476304" y="1779045"/>
                  <a:pt x="1835426" y="1749439"/>
                </a:cubicBezTo>
                <a:cubicBezTo>
                  <a:pt x="2194548" y="1719627"/>
                  <a:pt x="2463889" y="1630603"/>
                  <a:pt x="2673377" y="1511767"/>
                </a:cubicBezTo>
                <a:cubicBezTo>
                  <a:pt x="2882865" y="1392931"/>
                  <a:pt x="3298100" y="1053693"/>
                  <a:pt x="3690889" y="947398"/>
                </a:cubicBezTo>
                <a:cubicBezTo>
                  <a:pt x="3802455" y="917175"/>
                  <a:pt x="4425418" y="920465"/>
                  <a:pt x="5099430" y="686083"/>
                </a:cubicBezTo>
                <a:cubicBezTo>
                  <a:pt x="5647576" y="495493"/>
                  <a:pt x="6229828" y="84912"/>
                  <a:pt x="6598632" y="0"/>
                </a:cubicBezTo>
                <a:close/>
              </a:path>
            </a:pathLst>
          </a:custGeom>
          <a:solidFill>
            <a:srgbClr val="DC5541"/>
          </a:solidFill>
          <a:ln w="2056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B74E30FB-DE2E-4A9A-9435-B75DB857D6F6}"/>
              </a:ext>
            </a:extLst>
          </p:cNvPr>
          <p:cNvSpPr/>
          <p:nvPr/>
        </p:nvSpPr>
        <p:spPr>
          <a:xfrm>
            <a:off x="1942263" y="4955630"/>
            <a:ext cx="1152676" cy="2143307"/>
          </a:xfrm>
          <a:custGeom>
            <a:avLst/>
            <a:gdLst>
              <a:gd name="connsiteX0" fmla="*/ 631006 w 1152676"/>
              <a:gd name="connsiteY0" fmla="*/ 13495 h 2143307"/>
              <a:gd name="connsiteX1" fmla="*/ 595996 w 1152676"/>
              <a:gd name="connsiteY1" fmla="*/ 32111 h 2143307"/>
              <a:gd name="connsiteX2" fmla="*/ 525977 w 1152676"/>
              <a:gd name="connsiteY2" fmla="*/ 345669 h 2143307"/>
              <a:gd name="connsiteX3" fmla="*/ 315642 w 1152676"/>
              <a:gd name="connsiteY3" fmla="*/ 698266 h 2143307"/>
              <a:gd name="connsiteX4" fmla="*/ 435119 w 1152676"/>
              <a:gd name="connsiteY4" fmla="*/ 650058 h 2143307"/>
              <a:gd name="connsiteX5" fmla="*/ 296887 w 1152676"/>
              <a:gd name="connsiteY5" fmla="*/ 819271 h 2143307"/>
              <a:gd name="connsiteX6" fmla="*/ 390107 w 1152676"/>
              <a:gd name="connsiteY6" fmla="*/ 820383 h 2143307"/>
              <a:gd name="connsiteX7" fmla="*/ 282855 w 1152676"/>
              <a:gd name="connsiteY7" fmla="*/ 922633 h 2143307"/>
              <a:gd name="connsiteX8" fmla="*/ 400110 w 1152676"/>
              <a:gd name="connsiteY8" fmla="*/ 909296 h 2143307"/>
              <a:gd name="connsiteX9" fmla="*/ 242427 w 1152676"/>
              <a:gd name="connsiteY9" fmla="*/ 1087817 h 2143307"/>
              <a:gd name="connsiteX10" fmla="*/ 411085 w 1152676"/>
              <a:gd name="connsiteY10" fmla="*/ 1075452 h 2143307"/>
              <a:gd name="connsiteX11" fmla="*/ 202000 w 1152676"/>
              <a:gd name="connsiteY11" fmla="*/ 1253001 h 2143307"/>
              <a:gd name="connsiteX12" fmla="*/ 329535 w 1152676"/>
              <a:gd name="connsiteY12" fmla="*/ 1257586 h 2143307"/>
              <a:gd name="connsiteX13" fmla="*/ 161572 w 1152676"/>
              <a:gd name="connsiteY13" fmla="*/ 1418046 h 2143307"/>
              <a:gd name="connsiteX14" fmla="*/ 286051 w 1152676"/>
              <a:gd name="connsiteY14" fmla="*/ 1427910 h 2143307"/>
              <a:gd name="connsiteX15" fmla="*/ 121144 w 1152676"/>
              <a:gd name="connsiteY15" fmla="*/ 1583230 h 2143307"/>
              <a:gd name="connsiteX16" fmla="*/ 307306 w 1152676"/>
              <a:gd name="connsiteY16" fmla="*/ 1565725 h 2143307"/>
              <a:gd name="connsiteX17" fmla="*/ 80717 w 1152676"/>
              <a:gd name="connsiteY17" fmla="*/ 1748275 h 2143307"/>
              <a:gd name="connsiteX18" fmla="*/ 253819 w 1152676"/>
              <a:gd name="connsiteY18" fmla="*/ 1747442 h 2143307"/>
              <a:gd name="connsiteX19" fmla="*/ 40289 w 1152676"/>
              <a:gd name="connsiteY19" fmla="*/ 1913321 h 2143307"/>
              <a:gd name="connsiteX20" fmla="*/ 164212 w 1152676"/>
              <a:gd name="connsiteY20" fmla="*/ 1938328 h 2143307"/>
              <a:gd name="connsiteX21" fmla="*/ 0 w 1152676"/>
              <a:gd name="connsiteY21" fmla="*/ 2078366 h 2143307"/>
              <a:gd name="connsiteX22" fmla="*/ 1152677 w 1152676"/>
              <a:gd name="connsiteY22" fmla="*/ 2103512 h 2143307"/>
              <a:gd name="connsiteX23" fmla="*/ 1016667 w 1152676"/>
              <a:gd name="connsiteY23" fmla="*/ 1953471 h 2143307"/>
              <a:gd name="connsiteX24" fmla="*/ 1112249 w 1152676"/>
              <a:gd name="connsiteY24" fmla="*/ 1938466 h 2143307"/>
              <a:gd name="connsiteX25" fmla="*/ 985548 w 1152676"/>
              <a:gd name="connsiteY25" fmla="*/ 1788148 h 2143307"/>
              <a:gd name="connsiteX26" fmla="*/ 1071821 w 1152676"/>
              <a:gd name="connsiteY26" fmla="*/ 1773421 h 2143307"/>
              <a:gd name="connsiteX27" fmla="*/ 954428 w 1152676"/>
              <a:gd name="connsiteY27" fmla="*/ 1622686 h 2143307"/>
              <a:gd name="connsiteX28" fmla="*/ 1031394 w 1152676"/>
              <a:gd name="connsiteY28" fmla="*/ 1608376 h 2143307"/>
              <a:gd name="connsiteX29" fmla="*/ 923308 w 1152676"/>
              <a:gd name="connsiteY29" fmla="*/ 1457224 h 2143307"/>
              <a:gd name="connsiteX30" fmla="*/ 990966 w 1152676"/>
              <a:gd name="connsiteY30" fmla="*/ 1443331 h 2143307"/>
              <a:gd name="connsiteX31" fmla="*/ 859958 w 1152676"/>
              <a:gd name="connsiteY31" fmla="*/ 1261476 h 2143307"/>
              <a:gd name="connsiteX32" fmla="*/ 950538 w 1152676"/>
              <a:gd name="connsiteY32" fmla="*/ 1278286 h 2143307"/>
              <a:gd name="connsiteX33" fmla="*/ 828838 w 1152676"/>
              <a:gd name="connsiteY33" fmla="*/ 1098098 h 2143307"/>
              <a:gd name="connsiteX34" fmla="*/ 910110 w 1152676"/>
              <a:gd name="connsiteY34" fmla="*/ 1113241 h 2143307"/>
              <a:gd name="connsiteX35" fmla="*/ 781464 w 1152676"/>
              <a:gd name="connsiteY35" fmla="*/ 929857 h 2143307"/>
              <a:gd name="connsiteX36" fmla="*/ 869682 w 1152676"/>
              <a:gd name="connsiteY36" fmla="*/ 948195 h 2143307"/>
              <a:gd name="connsiteX37" fmla="*/ 759375 w 1152676"/>
              <a:gd name="connsiteY37" fmla="*/ 810797 h 2143307"/>
              <a:gd name="connsiteX38" fmla="*/ 855651 w 1152676"/>
              <a:gd name="connsiteY38" fmla="*/ 850947 h 2143307"/>
              <a:gd name="connsiteX39" fmla="*/ 779658 w 1152676"/>
              <a:gd name="connsiteY39" fmla="*/ 707018 h 2143307"/>
              <a:gd name="connsiteX40" fmla="*/ 836896 w 1152676"/>
              <a:gd name="connsiteY40" fmla="*/ 723967 h 2143307"/>
              <a:gd name="connsiteX41" fmla="*/ 692829 w 1152676"/>
              <a:gd name="connsiteY41" fmla="*/ 382485 h 2143307"/>
              <a:gd name="connsiteX42" fmla="*/ 631006 w 1152676"/>
              <a:gd name="connsiteY42" fmla="*/ 13495 h 2143307"/>
              <a:gd name="connsiteX43" fmla="*/ 631006 w 1152676"/>
              <a:gd name="connsiteY43" fmla="*/ 13495 h 2143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152676" h="2143307">
                <a:moveTo>
                  <a:pt x="631006" y="13495"/>
                </a:moveTo>
                <a:cubicBezTo>
                  <a:pt x="628366" y="-6094"/>
                  <a:pt x="600998" y="-7900"/>
                  <a:pt x="595996" y="32111"/>
                </a:cubicBezTo>
                <a:cubicBezTo>
                  <a:pt x="570851" y="234945"/>
                  <a:pt x="570434" y="210077"/>
                  <a:pt x="525977" y="345669"/>
                </a:cubicBezTo>
                <a:cubicBezTo>
                  <a:pt x="487217" y="481818"/>
                  <a:pt x="388162" y="579761"/>
                  <a:pt x="315642" y="698266"/>
                </a:cubicBezTo>
                <a:cubicBezTo>
                  <a:pt x="326339" y="703406"/>
                  <a:pt x="424005" y="645474"/>
                  <a:pt x="435119" y="650058"/>
                </a:cubicBezTo>
                <a:cubicBezTo>
                  <a:pt x="419143" y="686318"/>
                  <a:pt x="315364" y="784539"/>
                  <a:pt x="296887" y="819271"/>
                </a:cubicBezTo>
                <a:cubicBezTo>
                  <a:pt x="309529" y="826218"/>
                  <a:pt x="376909" y="814270"/>
                  <a:pt x="390107" y="820383"/>
                </a:cubicBezTo>
                <a:cubicBezTo>
                  <a:pt x="373713" y="848863"/>
                  <a:pt x="301749" y="895264"/>
                  <a:pt x="282855" y="922633"/>
                </a:cubicBezTo>
                <a:cubicBezTo>
                  <a:pt x="301333" y="930413"/>
                  <a:pt x="380660" y="902766"/>
                  <a:pt x="400110" y="909296"/>
                </a:cubicBezTo>
                <a:cubicBezTo>
                  <a:pt x="371352" y="958754"/>
                  <a:pt x="278687" y="1041415"/>
                  <a:pt x="242427" y="1087817"/>
                </a:cubicBezTo>
                <a:cubicBezTo>
                  <a:pt x="264378" y="1096014"/>
                  <a:pt x="387884" y="1068645"/>
                  <a:pt x="411085" y="1075452"/>
                </a:cubicBezTo>
                <a:cubicBezTo>
                  <a:pt x="378993" y="1124494"/>
                  <a:pt x="242289" y="1207016"/>
                  <a:pt x="202000" y="1253001"/>
                </a:cubicBezTo>
                <a:cubicBezTo>
                  <a:pt x="227562" y="1261476"/>
                  <a:pt x="302444" y="1250639"/>
                  <a:pt x="329535" y="1257586"/>
                </a:cubicBezTo>
                <a:cubicBezTo>
                  <a:pt x="294108" y="1306349"/>
                  <a:pt x="206168" y="1372339"/>
                  <a:pt x="161572" y="1418046"/>
                </a:cubicBezTo>
                <a:cubicBezTo>
                  <a:pt x="190747" y="1426799"/>
                  <a:pt x="255209" y="1420825"/>
                  <a:pt x="286051" y="1427910"/>
                </a:cubicBezTo>
                <a:cubicBezTo>
                  <a:pt x="247290" y="1476534"/>
                  <a:pt x="169769" y="1537662"/>
                  <a:pt x="121144" y="1583230"/>
                </a:cubicBezTo>
                <a:cubicBezTo>
                  <a:pt x="153931" y="1592261"/>
                  <a:pt x="272436" y="1558501"/>
                  <a:pt x="307306" y="1565725"/>
                </a:cubicBezTo>
                <a:cubicBezTo>
                  <a:pt x="265211" y="1614072"/>
                  <a:pt x="133648" y="1702985"/>
                  <a:pt x="80717" y="1748275"/>
                </a:cubicBezTo>
                <a:cubicBezTo>
                  <a:pt x="117115" y="1757445"/>
                  <a:pt x="215198" y="1740079"/>
                  <a:pt x="253819" y="1747442"/>
                </a:cubicBezTo>
                <a:cubicBezTo>
                  <a:pt x="208390" y="1795650"/>
                  <a:pt x="97249" y="1868169"/>
                  <a:pt x="40289" y="1913321"/>
                </a:cubicBezTo>
                <a:cubicBezTo>
                  <a:pt x="80300" y="1922629"/>
                  <a:pt x="121700" y="1930964"/>
                  <a:pt x="164212" y="1938328"/>
                </a:cubicBezTo>
                <a:cubicBezTo>
                  <a:pt x="115448" y="1986396"/>
                  <a:pt x="60989" y="2033215"/>
                  <a:pt x="0" y="2078366"/>
                </a:cubicBezTo>
                <a:cubicBezTo>
                  <a:pt x="340232" y="2151719"/>
                  <a:pt x="772017" y="2166862"/>
                  <a:pt x="1152677" y="2103512"/>
                </a:cubicBezTo>
                <a:cubicBezTo>
                  <a:pt x="1102524" y="2054331"/>
                  <a:pt x="1057512" y="2004179"/>
                  <a:pt x="1016667" y="1953471"/>
                </a:cubicBezTo>
                <a:cubicBezTo>
                  <a:pt x="1048759" y="1949025"/>
                  <a:pt x="1080713" y="1944023"/>
                  <a:pt x="1112249" y="1938466"/>
                </a:cubicBezTo>
                <a:cubicBezTo>
                  <a:pt x="1065570" y="1889147"/>
                  <a:pt x="1023614" y="1838856"/>
                  <a:pt x="985548" y="1788148"/>
                </a:cubicBezTo>
                <a:cubicBezTo>
                  <a:pt x="1014583" y="1783841"/>
                  <a:pt x="1043341" y="1778978"/>
                  <a:pt x="1071821" y="1773421"/>
                </a:cubicBezTo>
                <a:cubicBezTo>
                  <a:pt x="1028615" y="1723963"/>
                  <a:pt x="989715" y="1673672"/>
                  <a:pt x="954428" y="1622686"/>
                </a:cubicBezTo>
                <a:cubicBezTo>
                  <a:pt x="980268" y="1618518"/>
                  <a:pt x="1005970" y="1613655"/>
                  <a:pt x="1031394" y="1608376"/>
                </a:cubicBezTo>
                <a:cubicBezTo>
                  <a:pt x="991521" y="1558779"/>
                  <a:pt x="955678" y="1508349"/>
                  <a:pt x="923308" y="1457224"/>
                </a:cubicBezTo>
                <a:cubicBezTo>
                  <a:pt x="946092" y="1453056"/>
                  <a:pt x="968598" y="1448471"/>
                  <a:pt x="990966" y="1443331"/>
                </a:cubicBezTo>
                <a:cubicBezTo>
                  <a:pt x="954567" y="1393595"/>
                  <a:pt x="889549" y="1312740"/>
                  <a:pt x="859958" y="1261476"/>
                </a:cubicBezTo>
                <a:cubicBezTo>
                  <a:pt x="879546" y="1257447"/>
                  <a:pt x="931366" y="1283148"/>
                  <a:pt x="950538" y="1278286"/>
                </a:cubicBezTo>
                <a:cubicBezTo>
                  <a:pt x="917473" y="1228272"/>
                  <a:pt x="855651" y="1149500"/>
                  <a:pt x="828838" y="1098098"/>
                </a:cubicBezTo>
                <a:cubicBezTo>
                  <a:pt x="845370" y="1094346"/>
                  <a:pt x="893995" y="1117964"/>
                  <a:pt x="910110" y="1113241"/>
                </a:cubicBezTo>
                <a:cubicBezTo>
                  <a:pt x="880519" y="1062949"/>
                  <a:pt x="805498" y="981538"/>
                  <a:pt x="781464" y="929857"/>
                </a:cubicBezTo>
                <a:cubicBezTo>
                  <a:pt x="794801" y="926245"/>
                  <a:pt x="856484" y="952502"/>
                  <a:pt x="869682" y="948195"/>
                </a:cubicBezTo>
                <a:cubicBezTo>
                  <a:pt x="854956" y="919715"/>
                  <a:pt x="772573" y="839832"/>
                  <a:pt x="759375" y="810797"/>
                </a:cubicBezTo>
                <a:cubicBezTo>
                  <a:pt x="768683" y="807323"/>
                  <a:pt x="846482" y="854836"/>
                  <a:pt x="855651" y="850947"/>
                </a:cubicBezTo>
                <a:cubicBezTo>
                  <a:pt x="840091" y="811908"/>
                  <a:pt x="793273" y="746890"/>
                  <a:pt x="779658" y="707018"/>
                </a:cubicBezTo>
                <a:cubicBezTo>
                  <a:pt x="787993" y="704379"/>
                  <a:pt x="828560" y="727024"/>
                  <a:pt x="836896" y="723967"/>
                </a:cubicBezTo>
                <a:cubicBezTo>
                  <a:pt x="784381" y="609908"/>
                  <a:pt x="725337" y="502796"/>
                  <a:pt x="692829" y="382485"/>
                </a:cubicBezTo>
                <a:cubicBezTo>
                  <a:pt x="636285" y="129638"/>
                  <a:pt x="665877" y="258145"/>
                  <a:pt x="631006" y="13495"/>
                </a:cubicBezTo>
                <a:lnTo>
                  <a:pt x="631006" y="13495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62B325AF-6C81-6DE2-9291-70BC40B8CCF4}"/>
              </a:ext>
            </a:extLst>
          </p:cNvPr>
          <p:cNvSpPr/>
          <p:nvPr/>
        </p:nvSpPr>
        <p:spPr>
          <a:xfrm>
            <a:off x="1410754" y="5415345"/>
            <a:ext cx="857734" cy="1594608"/>
          </a:xfrm>
          <a:custGeom>
            <a:avLst/>
            <a:gdLst>
              <a:gd name="connsiteX0" fmla="*/ 469573 w 857734"/>
              <a:gd name="connsiteY0" fmla="*/ 10018 h 1594608"/>
              <a:gd name="connsiteX1" fmla="*/ 443594 w 857734"/>
              <a:gd name="connsiteY1" fmla="*/ 23910 h 1594608"/>
              <a:gd name="connsiteX2" fmla="*/ 391496 w 857734"/>
              <a:gd name="connsiteY2" fmla="*/ 257169 h 1594608"/>
              <a:gd name="connsiteX3" fmla="*/ 234925 w 857734"/>
              <a:gd name="connsiteY3" fmla="*/ 519602 h 1594608"/>
              <a:gd name="connsiteX4" fmla="*/ 323839 w 857734"/>
              <a:gd name="connsiteY4" fmla="*/ 483758 h 1594608"/>
              <a:gd name="connsiteX5" fmla="*/ 221033 w 857734"/>
              <a:gd name="connsiteY5" fmla="*/ 609626 h 1594608"/>
              <a:gd name="connsiteX6" fmla="*/ 290357 w 857734"/>
              <a:gd name="connsiteY6" fmla="*/ 610460 h 1594608"/>
              <a:gd name="connsiteX7" fmla="*/ 210613 w 857734"/>
              <a:gd name="connsiteY7" fmla="*/ 686453 h 1594608"/>
              <a:gd name="connsiteX8" fmla="*/ 297859 w 857734"/>
              <a:gd name="connsiteY8" fmla="*/ 676450 h 1594608"/>
              <a:gd name="connsiteX9" fmla="*/ 180466 w 857734"/>
              <a:gd name="connsiteY9" fmla="*/ 809264 h 1594608"/>
              <a:gd name="connsiteX10" fmla="*/ 306056 w 857734"/>
              <a:gd name="connsiteY10" fmla="*/ 799956 h 1594608"/>
              <a:gd name="connsiteX11" fmla="*/ 150458 w 857734"/>
              <a:gd name="connsiteY11" fmla="*/ 932076 h 1594608"/>
              <a:gd name="connsiteX12" fmla="*/ 245345 w 857734"/>
              <a:gd name="connsiteY12" fmla="*/ 935410 h 1594608"/>
              <a:gd name="connsiteX13" fmla="*/ 120450 w 857734"/>
              <a:gd name="connsiteY13" fmla="*/ 1054887 h 1594608"/>
              <a:gd name="connsiteX14" fmla="*/ 213114 w 857734"/>
              <a:gd name="connsiteY14" fmla="*/ 1062250 h 1594608"/>
              <a:gd name="connsiteX15" fmla="*/ 90303 w 857734"/>
              <a:gd name="connsiteY15" fmla="*/ 1177837 h 1594608"/>
              <a:gd name="connsiteX16" fmla="*/ 228813 w 857734"/>
              <a:gd name="connsiteY16" fmla="*/ 1164778 h 1594608"/>
              <a:gd name="connsiteX17" fmla="*/ 60294 w 857734"/>
              <a:gd name="connsiteY17" fmla="*/ 1300649 h 1594608"/>
              <a:gd name="connsiteX18" fmla="*/ 189080 w 857734"/>
              <a:gd name="connsiteY18" fmla="*/ 1299954 h 1594608"/>
              <a:gd name="connsiteX19" fmla="*/ 30147 w 857734"/>
              <a:gd name="connsiteY19" fmla="*/ 1423460 h 1594608"/>
              <a:gd name="connsiteX20" fmla="*/ 122256 w 857734"/>
              <a:gd name="connsiteY20" fmla="*/ 1442076 h 1594608"/>
              <a:gd name="connsiteX21" fmla="*/ 0 w 857734"/>
              <a:gd name="connsiteY21" fmla="*/ 1546271 h 1594608"/>
              <a:gd name="connsiteX22" fmla="*/ 857735 w 857734"/>
              <a:gd name="connsiteY22" fmla="*/ 1565027 h 1594608"/>
              <a:gd name="connsiteX23" fmla="*/ 756596 w 857734"/>
              <a:gd name="connsiteY23" fmla="*/ 1453329 h 1594608"/>
              <a:gd name="connsiteX24" fmla="*/ 827727 w 857734"/>
              <a:gd name="connsiteY24" fmla="*/ 1442215 h 1594608"/>
              <a:gd name="connsiteX25" fmla="*/ 733534 w 857734"/>
              <a:gd name="connsiteY25" fmla="*/ 1330379 h 1594608"/>
              <a:gd name="connsiteX26" fmla="*/ 797718 w 857734"/>
              <a:gd name="connsiteY26" fmla="*/ 1319404 h 1594608"/>
              <a:gd name="connsiteX27" fmla="*/ 710333 w 857734"/>
              <a:gd name="connsiteY27" fmla="*/ 1207290 h 1594608"/>
              <a:gd name="connsiteX28" fmla="*/ 767571 w 857734"/>
              <a:gd name="connsiteY28" fmla="*/ 1196592 h 1594608"/>
              <a:gd name="connsiteX29" fmla="*/ 687133 w 857734"/>
              <a:gd name="connsiteY29" fmla="*/ 1084062 h 1594608"/>
              <a:gd name="connsiteX30" fmla="*/ 737424 w 857734"/>
              <a:gd name="connsiteY30" fmla="*/ 1073781 h 1594608"/>
              <a:gd name="connsiteX31" fmla="*/ 639897 w 857734"/>
              <a:gd name="connsiteY31" fmla="*/ 938466 h 1594608"/>
              <a:gd name="connsiteX32" fmla="*/ 707277 w 857734"/>
              <a:gd name="connsiteY32" fmla="*/ 950970 h 1594608"/>
              <a:gd name="connsiteX33" fmla="*/ 616697 w 857734"/>
              <a:gd name="connsiteY33" fmla="*/ 816905 h 1594608"/>
              <a:gd name="connsiteX34" fmla="*/ 677269 w 857734"/>
              <a:gd name="connsiteY34" fmla="*/ 828158 h 1594608"/>
              <a:gd name="connsiteX35" fmla="*/ 581548 w 857734"/>
              <a:gd name="connsiteY35" fmla="*/ 691732 h 1594608"/>
              <a:gd name="connsiteX36" fmla="*/ 647122 w 857734"/>
              <a:gd name="connsiteY36" fmla="*/ 705347 h 1594608"/>
              <a:gd name="connsiteX37" fmla="*/ 565016 w 857734"/>
              <a:gd name="connsiteY37" fmla="*/ 603097 h 1594608"/>
              <a:gd name="connsiteX38" fmla="*/ 636702 w 857734"/>
              <a:gd name="connsiteY38" fmla="*/ 632966 h 1594608"/>
              <a:gd name="connsiteX39" fmla="*/ 580159 w 857734"/>
              <a:gd name="connsiteY39" fmla="*/ 525853 h 1594608"/>
              <a:gd name="connsiteX40" fmla="*/ 622670 w 857734"/>
              <a:gd name="connsiteY40" fmla="*/ 538496 h 1594608"/>
              <a:gd name="connsiteX41" fmla="*/ 515419 w 857734"/>
              <a:gd name="connsiteY41" fmla="*/ 284398 h 1594608"/>
              <a:gd name="connsiteX42" fmla="*/ 469573 w 857734"/>
              <a:gd name="connsiteY42" fmla="*/ 10018 h 1594608"/>
              <a:gd name="connsiteX43" fmla="*/ 469573 w 857734"/>
              <a:gd name="connsiteY43" fmla="*/ 10018 h 1594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57734" h="1594608">
                <a:moveTo>
                  <a:pt x="469573" y="10018"/>
                </a:moveTo>
                <a:cubicBezTo>
                  <a:pt x="467628" y="-4570"/>
                  <a:pt x="447206" y="-5820"/>
                  <a:pt x="443594" y="23910"/>
                </a:cubicBezTo>
                <a:cubicBezTo>
                  <a:pt x="424839" y="174924"/>
                  <a:pt x="424561" y="156308"/>
                  <a:pt x="391496" y="257169"/>
                </a:cubicBezTo>
                <a:cubicBezTo>
                  <a:pt x="362599" y="358446"/>
                  <a:pt x="288968" y="431244"/>
                  <a:pt x="234925" y="519602"/>
                </a:cubicBezTo>
                <a:cubicBezTo>
                  <a:pt x="242844" y="523353"/>
                  <a:pt x="315503" y="480424"/>
                  <a:pt x="323839" y="483758"/>
                </a:cubicBezTo>
                <a:cubicBezTo>
                  <a:pt x="311891" y="510710"/>
                  <a:pt x="234648" y="583786"/>
                  <a:pt x="221033" y="609626"/>
                </a:cubicBezTo>
                <a:cubicBezTo>
                  <a:pt x="230480" y="614766"/>
                  <a:pt x="280632" y="605875"/>
                  <a:pt x="290357" y="610460"/>
                </a:cubicBezTo>
                <a:cubicBezTo>
                  <a:pt x="278132" y="631577"/>
                  <a:pt x="224506" y="666169"/>
                  <a:pt x="210613" y="686453"/>
                </a:cubicBezTo>
                <a:cubicBezTo>
                  <a:pt x="224367" y="692288"/>
                  <a:pt x="283411" y="671727"/>
                  <a:pt x="297859" y="676450"/>
                </a:cubicBezTo>
                <a:cubicBezTo>
                  <a:pt x="276465" y="713266"/>
                  <a:pt x="207557" y="774810"/>
                  <a:pt x="180466" y="809264"/>
                </a:cubicBezTo>
                <a:cubicBezTo>
                  <a:pt x="196859" y="815377"/>
                  <a:pt x="288690" y="794955"/>
                  <a:pt x="306056" y="799956"/>
                </a:cubicBezTo>
                <a:cubicBezTo>
                  <a:pt x="282161" y="836494"/>
                  <a:pt x="180466" y="897761"/>
                  <a:pt x="150458" y="932076"/>
                </a:cubicBezTo>
                <a:cubicBezTo>
                  <a:pt x="169491" y="938466"/>
                  <a:pt x="225201" y="930269"/>
                  <a:pt x="245345" y="935410"/>
                </a:cubicBezTo>
                <a:cubicBezTo>
                  <a:pt x="218949" y="971670"/>
                  <a:pt x="153514" y="1020850"/>
                  <a:pt x="120450" y="1054887"/>
                </a:cubicBezTo>
                <a:cubicBezTo>
                  <a:pt x="142122" y="1061417"/>
                  <a:pt x="190052" y="1056971"/>
                  <a:pt x="213114" y="1062250"/>
                </a:cubicBezTo>
                <a:cubicBezTo>
                  <a:pt x="184356" y="1098371"/>
                  <a:pt x="126562" y="1143939"/>
                  <a:pt x="90303" y="1177837"/>
                </a:cubicBezTo>
                <a:cubicBezTo>
                  <a:pt x="114754" y="1184506"/>
                  <a:pt x="202972" y="1159499"/>
                  <a:pt x="228813" y="1164778"/>
                </a:cubicBezTo>
                <a:cubicBezTo>
                  <a:pt x="197554" y="1200760"/>
                  <a:pt x="99611" y="1266889"/>
                  <a:pt x="60294" y="1300649"/>
                </a:cubicBezTo>
                <a:cubicBezTo>
                  <a:pt x="87385" y="1307456"/>
                  <a:pt x="160322" y="1294536"/>
                  <a:pt x="189080" y="1299954"/>
                </a:cubicBezTo>
                <a:cubicBezTo>
                  <a:pt x="155320" y="1335797"/>
                  <a:pt x="72520" y="1389701"/>
                  <a:pt x="30147" y="1423460"/>
                </a:cubicBezTo>
                <a:cubicBezTo>
                  <a:pt x="59878" y="1430406"/>
                  <a:pt x="90719" y="1436519"/>
                  <a:pt x="122256" y="1442076"/>
                </a:cubicBezTo>
                <a:cubicBezTo>
                  <a:pt x="85996" y="1477919"/>
                  <a:pt x="45568" y="1512651"/>
                  <a:pt x="0" y="1546271"/>
                </a:cubicBezTo>
                <a:cubicBezTo>
                  <a:pt x="253125" y="1600870"/>
                  <a:pt x="574463" y="1612123"/>
                  <a:pt x="857735" y="1565027"/>
                </a:cubicBezTo>
                <a:cubicBezTo>
                  <a:pt x="820502" y="1528350"/>
                  <a:pt x="786882" y="1491117"/>
                  <a:pt x="756596" y="1453329"/>
                </a:cubicBezTo>
                <a:cubicBezTo>
                  <a:pt x="780491" y="1449995"/>
                  <a:pt x="804248" y="1446383"/>
                  <a:pt x="827727" y="1442215"/>
                </a:cubicBezTo>
                <a:cubicBezTo>
                  <a:pt x="792995" y="1405538"/>
                  <a:pt x="761736" y="1368167"/>
                  <a:pt x="733534" y="1330379"/>
                </a:cubicBezTo>
                <a:cubicBezTo>
                  <a:pt x="755068" y="1327184"/>
                  <a:pt x="776601" y="1323572"/>
                  <a:pt x="797718" y="1319404"/>
                </a:cubicBezTo>
                <a:cubicBezTo>
                  <a:pt x="765487" y="1282588"/>
                  <a:pt x="736591" y="1245217"/>
                  <a:pt x="710333" y="1207290"/>
                </a:cubicBezTo>
                <a:cubicBezTo>
                  <a:pt x="729644" y="1204094"/>
                  <a:pt x="748677" y="1200621"/>
                  <a:pt x="767571" y="1196592"/>
                </a:cubicBezTo>
                <a:cubicBezTo>
                  <a:pt x="737980" y="1159638"/>
                  <a:pt x="711306" y="1122128"/>
                  <a:pt x="687133" y="1084062"/>
                </a:cubicBezTo>
                <a:cubicBezTo>
                  <a:pt x="704082" y="1081005"/>
                  <a:pt x="720892" y="1077532"/>
                  <a:pt x="737424" y="1073781"/>
                </a:cubicBezTo>
                <a:cubicBezTo>
                  <a:pt x="710333" y="1036688"/>
                  <a:pt x="661987" y="976671"/>
                  <a:pt x="639897" y="938466"/>
                </a:cubicBezTo>
                <a:cubicBezTo>
                  <a:pt x="654485" y="935549"/>
                  <a:pt x="692967" y="954582"/>
                  <a:pt x="707277" y="950970"/>
                </a:cubicBezTo>
                <a:cubicBezTo>
                  <a:pt x="682687" y="913737"/>
                  <a:pt x="636702" y="855249"/>
                  <a:pt x="616697" y="816905"/>
                </a:cubicBezTo>
                <a:cubicBezTo>
                  <a:pt x="628922" y="814127"/>
                  <a:pt x="665182" y="831631"/>
                  <a:pt x="677269" y="828158"/>
                </a:cubicBezTo>
                <a:cubicBezTo>
                  <a:pt x="655179" y="790787"/>
                  <a:pt x="599470" y="730215"/>
                  <a:pt x="581548" y="691732"/>
                </a:cubicBezTo>
                <a:cubicBezTo>
                  <a:pt x="591551" y="689092"/>
                  <a:pt x="637397" y="708542"/>
                  <a:pt x="647122" y="705347"/>
                </a:cubicBezTo>
                <a:cubicBezTo>
                  <a:pt x="636146" y="684091"/>
                  <a:pt x="574880" y="624769"/>
                  <a:pt x="565016" y="603097"/>
                </a:cubicBezTo>
                <a:cubicBezTo>
                  <a:pt x="571962" y="600596"/>
                  <a:pt x="629756" y="635883"/>
                  <a:pt x="636702" y="632966"/>
                </a:cubicBezTo>
                <a:cubicBezTo>
                  <a:pt x="625171" y="603930"/>
                  <a:pt x="590300" y="555445"/>
                  <a:pt x="580159" y="525853"/>
                </a:cubicBezTo>
                <a:cubicBezTo>
                  <a:pt x="586411" y="523908"/>
                  <a:pt x="616558" y="540718"/>
                  <a:pt x="622670" y="538496"/>
                </a:cubicBezTo>
                <a:cubicBezTo>
                  <a:pt x="583632" y="453611"/>
                  <a:pt x="539592" y="373867"/>
                  <a:pt x="515419" y="284398"/>
                </a:cubicBezTo>
                <a:cubicBezTo>
                  <a:pt x="473463" y="96430"/>
                  <a:pt x="495413" y="192151"/>
                  <a:pt x="469573" y="10018"/>
                </a:cubicBezTo>
                <a:lnTo>
                  <a:pt x="469573" y="10018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DCC024B0-7D38-06C7-685F-96BA609CB4EE}"/>
              </a:ext>
            </a:extLst>
          </p:cNvPr>
          <p:cNvSpPr/>
          <p:nvPr/>
        </p:nvSpPr>
        <p:spPr>
          <a:xfrm>
            <a:off x="3850104" y="5588215"/>
            <a:ext cx="259515" cy="482805"/>
          </a:xfrm>
          <a:custGeom>
            <a:avLst/>
            <a:gdLst>
              <a:gd name="connsiteX0" fmla="*/ 141844 w 259515"/>
              <a:gd name="connsiteY0" fmla="*/ 3069 h 482805"/>
              <a:gd name="connsiteX1" fmla="*/ 133926 w 259515"/>
              <a:gd name="connsiteY1" fmla="*/ 7237 h 482805"/>
              <a:gd name="connsiteX2" fmla="*/ 118227 w 259515"/>
              <a:gd name="connsiteY2" fmla="*/ 77812 h 482805"/>
              <a:gd name="connsiteX3" fmla="*/ 70853 w 259515"/>
              <a:gd name="connsiteY3" fmla="*/ 157278 h 482805"/>
              <a:gd name="connsiteX4" fmla="*/ 97804 w 259515"/>
              <a:gd name="connsiteY4" fmla="*/ 146442 h 482805"/>
              <a:gd name="connsiteX5" fmla="*/ 66685 w 259515"/>
              <a:gd name="connsiteY5" fmla="*/ 184508 h 482805"/>
              <a:gd name="connsiteX6" fmla="*/ 87663 w 259515"/>
              <a:gd name="connsiteY6" fmla="*/ 184786 h 482805"/>
              <a:gd name="connsiteX7" fmla="*/ 63489 w 259515"/>
              <a:gd name="connsiteY7" fmla="*/ 207848 h 482805"/>
              <a:gd name="connsiteX8" fmla="*/ 89886 w 259515"/>
              <a:gd name="connsiteY8" fmla="*/ 204791 h 482805"/>
              <a:gd name="connsiteX9" fmla="*/ 54320 w 259515"/>
              <a:gd name="connsiteY9" fmla="*/ 244941 h 482805"/>
              <a:gd name="connsiteX10" fmla="*/ 92247 w 259515"/>
              <a:gd name="connsiteY10" fmla="*/ 242163 h 482805"/>
              <a:gd name="connsiteX11" fmla="*/ 45151 w 259515"/>
              <a:gd name="connsiteY11" fmla="*/ 282174 h 482805"/>
              <a:gd name="connsiteX12" fmla="*/ 73909 w 259515"/>
              <a:gd name="connsiteY12" fmla="*/ 283146 h 482805"/>
              <a:gd name="connsiteX13" fmla="*/ 36121 w 259515"/>
              <a:gd name="connsiteY13" fmla="*/ 319267 h 482805"/>
              <a:gd name="connsiteX14" fmla="*/ 64184 w 259515"/>
              <a:gd name="connsiteY14" fmla="*/ 321490 h 482805"/>
              <a:gd name="connsiteX15" fmla="*/ 27091 w 259515"/>
              <a:gd name="connsiteY15" fmla="*/ 356499 h 482805"/>
              <a:gd name="connsiteX16" fmla="*/ 69047 w 259515"/>
              <a:gd name="connsiteY16" fmla="*/ 352610 h 482805"/>
              <a:gd name="connsiteX17" fmla="*/ 18061 w 259515"/>
              <a:gd name="connsiteY17" fmla="*/ 393732 h 482805"/>
              <a:gd name="connsiteX18" fmla="*/ 57099 w 259515"/>
              <a:gd name="connsiteY18" fmla="*/ 393593 h 482805"/>
              <a:gd name="connsiteX19" fmla="*/ 9030 w 259515"/>
              <a:gd name="connsiteY19" fmla="*/ 430964 h 482805"/>
              <a:gd name="connsiteX20" fmla="*/ 36955 w 259515"/>
              <a:gd name="connsiteY20" fmla="*/ 436660 h 482805"/>
              <a:gd name="connsiteX21" fmla="*/ 0 w 259515"/>
              <a:gd name="connsiteY21" fmla="*/ 468197 h 482805"/>
              <a:gd name="connsiteX22" fmla="*/ 259515 w 259515"/>
              <a:gd name="connsiteY22" fmla="*/ 473893 h 482805"/>
              <a:gd name="connsiteX23" fmla="*/ 228952 w 259515"/>
              <a:gd name="connsiteY23" fmla="*/ 440133 h 482805"/>
              <a:gd name="connsiteX24" fmla="*/ 250485 w 259515"/>
              <a:gd name="connsiteY24" fmla="*/ 436799 h 482805"/>
              <a:gd name="connsiteX25" fmla="*/ 222005 w 259515"/>
              <a:gd name="connsiteY25" fmla="*/ 402901 h 482805"/>
              <a:gd name="connsiteX26" fmla="*/ 241455 w 259515"/>
              <a:gd name="connsiteY26" fmla="*/ 399567 h 482805"/>
              <a:gd name="connsiteX27" fmla="*/ 215059 w 259515"/>
              <a:gd name="connsiteY27" fmla="*/ 365669 h 482805"/>
              <a:gd name="connsiteX28" fmla="*/ 232425 w 259515"/>
              <a:gd name="connsiteY28" fmla="*/ 362473 h 482805"/>
              <a:gd name="connsiteX29" fmla="*/ 208112 w 259515"/>
              <a:gd name="connsiteY29" fmla="*/ 328436 h 482805"/>
              <a:gd name="connsiteX30" fmla="*/ 223395 w 259515"/>
              <a:gd name="connsiteY30" fmla="*/ 325241 h 482805"/>
              <a:gd name="connsiteX31" fmla="*/ 193942 w 259515"/>
              <a:gd name="connsiteY31" fmla="*/ 284257 h 482805"/>
              <a:gd name="connsiteX32" fmla="*/ 214364 w 259515"/>
              <a:gd name="connsiteY32" fmla="*/ 288008 h 482805"/>
              <a:gd name="connsiteX33" fmla="*/ 186996 w 259515"/>
              <a:gd name="connsiteY33" fmla="*/ 247442 h 482805"/>
              <a:gd name="connsiteX34" fmla="*/ 205334 w 259515"/>
              <a:gd name="connsiteY34" fmla="*/ 250915 h 482805"/>
              <a:gd name="connsiteX35" fmla="*/ 176437 w 259515"/>
              <a:gd name="connsiteY35" fmla="*/ 209654 h 482805"/>
              <a:gd name="connsiteX36" fmla="*/ 196304 w 259515"/>
              <a:gd name="connsiteY36" fmla="*/ 213821 h 482805"/>
              <a:gd name="connsiteX37" fmla="*/ 171436 w 259515"/>
              <a:gd name="connsiteY37" fmla="*/ 182841 h 482805"/>
              <a:gd name="connsiteX38" fmla="*/ 193108 w 259515"/>
              <a:gd name="connsiteY38" fmla="*/ 191871 h 482805"/>
              <a:gd name="connsiteX39" fmla="*/ 176020 w 259515"/>
              <a:gd name="connsiteY39" fmla="*/ 159501 h 482805"/>
              <a:gd name="connsiteX40" fmla="*/ 188940 w 259515"/>
              <a:gd name="connsiteY40" fmla="*/ 163391 h 482805"/>
              <a:gd name="connsiteX41" fmla="*/ 156432 w 259515"/>
              <a:gd name="connsiteY41" fmla="*/ 86564 h 482805"/>
              <a:gd name="connsiteX42" fmla="*/ 141844 w 259515"/>
              <a:gd name="connsiteY42" fmla="*/ 3069 h 482805"/>
              <a:gd name="connsiteX43" fmla="*/ 141844 w 259515"/>
              <a:gd name="connsiteY43" fmla="*/ 3069 h 482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59515" h="482805">
                <a:moveTo>
                  <a:pt x="141844" y="3069"/>
                </a:moveTo>
                <a:cubicBezTo>
                  <a:pt x="141289" y="-1376"/>
                  <a:pt x="135037" y="-1793"/>
                  <a:pt x="133926" y="7237"/>
                </a:cubicBezTo>
                <a:cubicBezTo>
                  <a:pt x="128229" y="52944"/>
                  <a:pt x="128229" y="47248"/>
                  <a:pt x="118227" y="77812"/>
                </a:cubicBezTo>
                <a:cubicBezTo>
                  <a:pt x="109474" y="108515"/>
                  <a:pt x="87246" y="130465"/>
                  <a:pt x="70853" y="157278"/>
                </a:cubicBezTo>
                <a:cubicBezTo>
                  <a:pt x="73215" y="158390"/>
                  <a:pt x="95304" y="145469"/>
                  <a:pt x="97804" y="146442"/>
                </a:cubicBezTo>
                <a:cubicBezTo>
                  <a:pt x="94192" y="154639"/>
                  <a:pt x="70853" y="176728"/>
                  <a:pt x="66685" y="184508"/>
                </a:cubicBezTo>
                <a:cubicBezTo>
                  <a:pt x="69602" y="186036"/>
                  <a:pt x="84745" y="183397"/>
                  <a:pt x="87663" y="184786"/>
                </a:cubicBezTo>
                <a:cubicBezTo>
                  <a:pt x="83912" y="191176"/>
                  <a:pt x="67796" y="201596"/>
                  <a:pt x="63489" y="207848"/>
                </a:cubicBezTo>
                <a:cubicBezTo>
                  <a:pt x="67657" y="209654"/>
                  <a:pt x="85579" y="203402"/>
                  <a:pt x="89886" y="204791"/>
                </a:cubicBezTo>
                <a:cubicBezTo>
                  <a:pt x="83356" y="215905"/>
                  <a:pt x="62517" y="234522"/>
                  <a:pt x="54320" y="244941"/>
                </a:cubicBezTo>
                <a:cubicBezTo>
                  <a:pt x="59322" y="246747"/>
                  <a:pt x="87107" y="240634"/>
                  <a:pt x="92247" y="242163"/>
                </a:cubicBezTo>
                <a:cubicBezTo>
                  <a:pt x="85023" y="253138"/>
                  <a:pt x="54320" y="271754"/>
                  <a:pt x="45151" y="282174"/>
                </a:cubicBezTo>
                <a:cubicBezTo>
                  <a:pt x="50847" y="284119"/>
                  <a:pt x="67796" y="281618"/>
                  <a:pt x="73909" y="283146"/>
                </a:cubicBezTo>
                <a:cubicBezTo>
                  <a:pt x="65990" y="294121"/>
                  <a:pt x="46124" y="308986"/>
                  <a:pt x="36121" y="319267"/>
                </a:cubicBezTo>
                <a:cubicBezTo>
                  <a:pt x="42650" y="321212"/>
                  <a:pt x="57238" y="319823"/>
                  <a:pt x="64184" y="321490"/>
                </a:cubicBezTo>
                <a:cubicBezTo>
                  <a:pt x="55432" y="332465"/>
                  <a:pt x="38066" y="346219"/>
                  <a:pt x="27091" y="356499"/>
                </a:cubicBezTo>
                <a:cubicBezTo>
                  <a:pt x="34454" y="358583"/>
                  <a:pt x="61128" y="350942"/>
                  <a:pt x="69047" y="352610"/>
                </a:cubicBezTo>
                <a:cubicBezTo>
                  <a:pt x="59600" y="363446"/>
                  <a:pt x="29869" y="383451"/>
                  <a:pt x="18061" y="393732"/>
                </a:cubicBezTo>
                <a:cubicBezTo>
                  <a:pt x="26257" y="395816"/>
                  <a:pt x="48347" y="391926"/>
                  <a:pt x="57099" y="393593"/>
                </a:cubicBezTo>
                <a:cubicBezTo>
                  <a:pt x="46818" y="404429"/>
                  <a:pt x="21811" y="420823"/>
                  <a:pt x="9030" y="430964"/>
                </a:cubicBezTo>
                <a:cubicBezTo>
                  <a:pt x="18061" y="433048"/>
                  <a:pt x="27369" y="434993"/>
                  <a:pt x="36955" y="436660"/>
                </a:cubicBezTo>
                <a:cubicBezTo>
                  <a:pt x="25979" y="447497"/>
                  <a:pt x="13754" y="458055"/>
                  <a:pt x="0" y="468197"/>
                </a:cubicBezTo>
                <a:cubicBezTo>
                  <a:pt x="76688" y="484729"/>
                  <a:pt x="173798" y="488063"/>
                  <a:pt x="259515" y="473893"/>
                </a:cubicBezTo>
                <a:cubicBezTo>
                  <a:pt x="248262" y="462779"/>
                  <a:pt x="238121" y="451525"/>
                  <a:pt x="228952" y="440133"/>
                </a:cubicBezTo>
                <a:cubicBezTo>
                  <a:pt x="236176" y="439161"/>
                  <a:pt x="243400" y="438050"/>
                  <a:pt x="250485" y="436799"/>
                </a:cubicBezTo>
                <a:cubicBezTo>
                  <a:pt x="239927" y="425685"/>
                  <a:pt x="230480" y="414432"/>
                  <a:pt x="222005" y="402901"/>
                </a:cubicBezTo>
                <a:cubicBezTo>
                  <a:pt x="228535" y="401929"/>
                  <a:pt x="235064" y="400817"/>
                  <a:pt x="241455" y="399567"/>
                </a:cubicBezTo>
                <a:cubicBezTo>
                  <a:pt x="231730" y="388453"/>
                  <a:pt x="222978" y="377061"/>
                  <a:pt x="215059" y="365669"/>
                </a:cubicBezTo>
                <a:cubicBezTo>
                  <a:pt x="220894" y="364696"/>
                  <a:pt x="226729" y="363585"/>
                  <a:pt x="232425" y="362473"/>
                </a:cubicBezTo>
                <a:cubicBezTo>
                  <a:pt x="223395" y="351359"/>
                  <a:pt x="215337" y="339967"/>
                  <a:pt x="208112" y="328436"/>
                </a:cubicBezTo>
                <a:cubicBezTo>
                  <a:pt x="213253" y="327464"/>
                  <a:pt x="218254" y="326491"/>
                  <a:pt x="223395" y="325241"/>
                </a:cubicBezTo>
                <a:cubicBezTo>
                  <a:pt x="215198" y="313988"/>
                  <a:pt x="200611" y="295788"/>
                  <a:pt x="193942" y="284257"/>
                </a:cubicBezTo>
                <a:cubicBezTo>
                  <a:pt x="198388" y="283424"/>
                  <a:pt x="210057" y="289120"/>
                  <a:pt x="214364" y="288008"/>
                </a:cubicBezTo>
                <a:cubicBezTo>
                  <a:pt x="206862" y="276755"/>
                  <a:pt x="192969" y="258973"/>
                  <a:pt x="186996" y="247442"/>
                </a:cubicBezTo>
                <a:cubicBezTo>
                  <a:pt x="190747" y="246608"/>
                  <a:pt x="201722" y="251887"/>
                  <a:pt x="205334" y="250915"/>
                </a:cubicBezTo>
                <a:cubicBezTo>
                  <a:pt x="198666" y="239662"/>
                  <a:pt x="181716" y="221324"/>
                  <a:pt x="176437" y="209654"/>
                </a:cubicBezTo>
                <a:cubicBezTo>
                  <a:pt x="179494" y="208820"/>
                  <a:pt x="193386" y="214794"/>
                  <a:pt x="196304" y="213821"/>
                </a:cubicBezTo>
                <a:cubicBezTo>
                  <a:pt x="192969" y="207431"/>
                  <a:pt x="174492" y="189370"/>
                  <a:pt x="171436" y="182841"/>
                </a:cubicBezTo>
                <a:cubicBezTo>
                  <a:pt x="173520" y="182007"/>
                  <a:pt x="191025" y="192705"/>
                  <a:pt x="193108" y="191871"/>
                </a:cubicBezTo>
                <a:cubicBezTo>
                  <a:pt x="189635" y="183119"/>
                  <a:pt x="179077" y="168392"/>
                  <a:pt x="176020" y="159501"/>
                </a:cubicBezTo>
                <a:cubicBezTo>
                  <a:pt x="177965" y="158945"/>
                  <a:pt x="186996" y="163947"/>
                  <a:pt x="188940" y="163391"/>
                </a:cubicBezTo>
                <a:cubicBezTo>
                  <a:pt x="177132" y="137690"/>
                  <a:pt x="163795" y="113516"/>
                  <a:pt x="156432" y="86564"/>
                </a:cubicBezTo>
                <a:cubicBezTo>
                  <a:pt x="142956" y="29327"/>
                  <a:pt x="149624" y="58223"/>
                  <a:pt x="141844" y="3069"/>
                </a:cubicBezTo>
                <a:lnTo>
                  <a:pt x="141844" y="3069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C2F77ED3-EF90-38CD-4348-28FE0BEC4AC3}"/>
              </a:ext>
            </a:extLst>
          </p:cNvPr>
          <p:cNvSpPr/>
          <p:nvPr/>
        </p:nvSpPr>
        <p:spPr>
          <a:xfrm>
            <a:off x="4088986" y="5684300"/>
            <a:ext cx="132397" cy="246314"/>
          </a:xfrm>
          <a:custGeom>
            <a:avLst/>
            <a:gdLst>
              <a:gd name="connsiteX0" fmla="*/ 72520 w 132397"/>
              <a:gd name="connsiteY0" fmla="*/ 1557 h 246314"/>
              <a:gd name="connsiteX1" fmla="*/ 68491 w 132397"/>
              <a:gd name="connsiteY1" fmla="*/ 3641 h 246314"/>
              <a:gd name="connsiteX2" fmla="*/ 60433 w 132397"/>
              <a:gd name="connsiteY2" fmla="*/ 39623 h 246314"/>
              <a:gd name="connsiteX3" fmla="*/ 36260 w 132397"/>
              <a:gd name="connsiteY3" fmla="*/ 80189 h 246314"/>
              <a:gd name="connsiteX4" fmla="*/ 50014 w 132397"/>
              <a:gd name="connsiteY4" fmla="*/ 74632 h 246314"/>
              <a:gd name="connsiteX5" fmla="*/ 34176 w 132397"/>
              <a:gd name="connsiteY5" fmla="*/ 94082 h 246314"/>
              <a:gd name="connsiteX6" fmla="*/ 44873 w 132397"/>
              <a:gd name="connsiteY6" fmla="*/ 94221 h 246314"/>
              <a:gd name="connsiteX7" fmla="*/ 32509 w 132397"/>
              <a:gd name="connsiteY7" fmla="*/ 106030 h 246314"/>
              <a:gd name="connsiteX8" fmla="*/ 45985 w 132397"/>
              <a:gd name="connsiteY8" fmla="*/ 104502 h 246314"/>
              <a:gd name="connsiteX9" fmla="*/ 27924 w 132397"/>
              <a:gd name="connsiteY9" fmla="*/ 125063 h 246314"/>
              <a:gd name="connsiteX10" fmla="*/ 47374 w 132397"/>
              <a:gd name="connsiteY10" fmla="*/ 123673 h 246314"/>
              <a:gd name="connsiteX11" fmla="*/ 23340 w 132397"/>
              <a:gd name="connsiteY11" fmla="*/ 144096 h 246314"/>
              <a:gd name="connsiteX12" fmla="*/ 37927 w 132397"/>
              <a:gd name="connsiteY12" fmla="*/ 144651 h 246314"/>
              <a:gd name="connsiteX13" fmla="*/ 18616 w 132397"/>
              <a:gd name="connsiteY13" fmla="*/ 163129 h 246314"/>
              <a:gd name="connsiteX14" fmla="*/ 32926 w 132397"/>
              <a:gd name="connsiteY14" fmla="*/ 164240 h 246314"/>
              <a:gd name="connsiteX15" fmla="*/ 14032 w 132397"/>
              <a:gd name="connsiteY15" fmla="*/ 182023 h 246314"/>
              <a:gd name="connsiteX16" fmla="*/ 35426 w 132397"/>
              <a:gd name="connsiteY16" fmla="*/ 179939 h 246314"/>
              <a:gd name="connsiteX17" fmla="*/ 9447 w 132397"/>
              <a:gd name="connsiteY17" fmla="*/ 200917 h 246314"/>
              <a:gd name="connsiteX18" fmla="*/ 29314 w 132397"/>
              <a:gd name="connsiteY18" fmla="*/ 200778 h 246314"/>
              <a:gd name="connsiteX19" fmla="*/ 4723 w 132397"/>
              <a:gd name="connsiteY19" fmla="*/ 219811 h 246314"/>
              <a:gd name="connsiteX20" fmla="*/ 18894 w 132397"/>
              <a:gd name="connsiteY20" fmla="*/ 222728 h 246314"/>
              <a:gd name="connsiteX21" fmla="*/ 0 w 132397"/>
              <a:gd name="connsiteY21" fmla="*/ 238844 h 246314"/>
              <a:gd name="connsiteX22" fmla="*/ 132397 w 132397"/>
              <a:gd name="connsiteY22" fmla="*/ 241761 h 246314"/>
              <a:gd name="connsiteX23" fmla="*/ 116838 w 132397"/>
              <a:gd name="connsiteY23" fmla="*/ 224534 h 246314"/>
              <a:gd name="connsiteX24" fmla="*/ 127813 w 132397"/>
              <a:gd name="connsiteY24" fmla="*/ 222867 h 246314"/>
              <a:gd name="connsiteX25" fmla="*/ 113225 w 132397"/>
              <a:gd name="connsiteY25" fmla="*/ 205640 h 246314"/>
              <a:gd name="connsiteX26" fmla="*/ 123089 w 132397"/>
              <a:gd name="connsiteY26" fmla="*/ 203973 h 246314"/>
              <a:gd name="connsiteX27" fmla="*/ 109613 w 132397"/>
              <a:gd name="connsiteY27" fmla="*/ 186607 h 246314"/>
              <a:gd name="connsiteX28" fmla="*/ 118505 w 132397"/>
              <a:gd name="connsiteY28" fmla="*/ 184940 h 246314"/>
              <a:gd name="connsiteX29" fmla="*/ 106140 w 132397"/>
              <a:gd name="connsiteY29" fmla="*/ 167574 h 246314"/>
              <a:gd name="connsiteX30" fmla="*/ 113920 w 132397"/>
              <a:gd name="connsiteY30" fmla="*/ 166046 h 246314"/>
              <a:gd name="connsiteX31" fmla="*/ 98916 w 132397"/>
              <a:gd name="connsiteY31" fmla="*/ 145207 h 246314"/>
              <a:gd name="connsiteX32" fmla="*/ 109335 w 132397"/>
              <a:gd name="connsiteY32" fmla="*/ 147152 h 246314"/>
              <a:gd name="connsiteX33" fmla="*/ 95304 w 132397"/>
              <a:gd name="connsiteY33" fmla="*/ 126452 h 246314"/>
              <a:gd name="connsiteX34" fmla="*/ 104612 w 132397"/>
              <a:gd name="connsiteY34" fmla="*/ 128258 h 246314"/>
              <a:gd name="connsiteX35" fmla="*/ 89886 w 132397"/>
              <a:gd name="connsiteY35" fmla="*/ 107141 h 246314"/>
              <a:gd name="connsiteX36" fmla="*/ 100027 w 132397"/>
              <a:gd name="connsiteY36" fmla="*/ 109225 h 246314"/>
              <a:gd name="connsiteX37" fmla="*/ 87385 w 132397"/>
              <a:gd name="connsiteY37" fmla="*/ 93387 h 246314"/>
              <a:gd name="connsiteX38" fmla="*/ 98499 w 132397"/>
              <a:gd name="connsiteY38" fmla="*/ 97972 h 246314"/>
              <a:gd name="connsiteX39" fmla="*/ 89747 w 132397"/>
              <a:gd name="connsiteY39" fmla="*/ 81440 h 246314"/>
              <a:gd name="connsiteX40" fmla="*/ 96276 w 132397"/>
              <a:gd name="connsiteY40" fmla="*/ 83385 h 246314"/>
              <a:gd name="connsiteX41" fmla="*/ 79744 w 132397"/>
              <a:gd name="connsiteY41" fmla="*/ 44207 h 246314"/>
              <a:gd name="connsiteX42" fmla="*/ 72520 w 132397"/>
              <a:gd name="connsiteY42" fmla="*/ 1557 h 246314"/>
              <a:gd name="connsiteX43" fmla="*/ 72520 w 132397"/>
              <a:gd name="connsiteY43" fmla="*/ 1557 h 246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32397" h="246314">
                <a:moveTo>
                  <a:pt x="72520" y="1557"/>
                </a:moveTo>
                <a:cubicBezTo>
                  <a:pt x="72242" y="-666"/>
                  <a:pt x="69047" y="-944"/>
                  <a:pt x="68491" y="3641"/>
                </a:cubicBezTo>
                <a:cubicBezTo>
                  <a:pt x="65574" y="26980"/>
                  <a:pt x="65574" y="24063"/>
                  <a:pt x="60433" y="39623"/>
                </a:cubicBezTo>
                <a:cubicBezTo>
                  <a:pt x="55988" y="55321"/>
                  <a:pt x="44595" y="66574"/>
                  <a:pt x="36260" y="80189"/>
                </a:cubicBezTo>
                <a:cubicBezTo>
                  <a:pt x="37510" y="80745"/>
                  <a:pt x="48763" y="74076"/>
                  <a:pt x="50014" y="74632"/>
                </a:cubicBezTo>
                <a:cubicBezTo>
                  <a:pt x="48208" y="78800"/>
                  <a:pt x="36260" y="90053"/>
                  <a:pt x="34176" y="94082"/>
                </a:cubicBezTo>
                <a:cubicBezTo>
                  <a:pt x="35565" y="94916"/>
                  <a:pt x="43345" y="93526"/>
                  <a:pt x="44873" y="94221"/>
                </a:cubicBezTo>
                <a:cubicBezTo>
                  <a:pt x="42928" y="97416"/>
                  <a:pt x="34732" y="102834"/>
                  <a:pt x="32509" y="106030"/>
                </a:cubicBezTo>
                <a:cubicBezTo>
                  <a:pt x="34593" y="106863"/>
                  <a:pt x="43762" y="103807"/>
                  <a:pt x="45985" y="104502"/>
                </a:cubicBezTo>
                <a:cubicBezTo>
                  <a:pt x="42650" y="110197"/>
                  <a:pt x="32092" y="119644"/>
                  <a:pt x="27924" y="125063"/>
                </a:cubicBezTo>
                <a:cubicBezTo>
                  <a:pt x="30425" y="126035"/>
                  <a:pt x="44595" y="122840"/>
                  <a:pt x="47374" y="123673"/>
                </a:cubicBezTo>
                <a:cubicBezTo>
                  <a:pt x="43623" y="129369"/>
                  <a:pt x="27924" y="138816"/>
                  <a:pt x="23340" y="144096"/>
                </a:cubicBezTo>
                <a:cubicBezTo>
                  <a:pt x="26257" y="145068"/>
                  <a:pt x="34871" y="143818"/>
                  <a:pt x="37927" y="144651"/>
                </a:cubicBezTo>
                <a:cubicBezTo>
                  <a:pt x="33898" y="150208"/>
                  <a:pt x="23756" y="157849"/>
                  <a:pt x="18616" y="163129"/>
                </a:cubicBezTo>
                <a:cubicBezTo>
                  <a:pt x="21950" y="164101"/>
                  <a:pt x="29314" y="163406"/>
                  <a:pt x="32926" y="164240"/>
                </a:cubicBezTo>
                <a:cubicBezTo>
                  <a:pt x="28480" y="169797"/>
                  <a:pt x="19589" y="176882"/>
                  <a:pt x="14032" y="182023"/>
                </a:cubicBezTo>
                <a:cubicBezTo>
                  <a:pt x="17783" y="182995"/>
                  <a:pt x="31397" y="179244"/>
                  <a:pt x="35426" y="179939"/>
                </a:cubicBezTo>
                <a:cubicBezTo>
                  <a:pt x="30564" y="185496"/>
                  <a:pt x="15421" y="195638"/>
                  <a:pt x="9447" y="200917"/>
                </a:cubicBezTo>
                <a:cubicBezTo>
                  <a:pt x="13615" y="202028"/>
                  <a:pt x="24868" y="199944"/>
                  <a:pt x="29314" y="200778"/>
                </a:cubicBezTo>
                <a:cubicBezTo>
                  <a:pt x="24034" y="206335"/>
                  <a:pt x="11253" y="214671"/>
                  <a:pt x="4723" y="219811"/>
                </a:cubicBezTo>
                <a:cubicBezTo>
                  <a:pt x="9308" y="220922"/>
                  <a:pt x="14032" y="221895"/>
                  <a:pt x="18894" y="222728"/>
                </a:cubicBezTo>
                <a:cubicBezTo>
                  <a:pt x="13337" y="228285"/>
                  <a:pt x="7085" y="233565"/>
                  <a:pt x="0" y="238844"/>
                </a:cubicBezTo>
                <a:cubicBezTo>
                  <a:pt x="39038" y="247318"/>
                  <a:pt x="88774" y="248986"/>
                  <a:pt x="132397" y="241761"/>
                </a:cubicBezTo>
                <a:cubicBezTo>
                  <a:pt x="126701" y="236065"/>
                  <a:pt x="121422" y="230369"/>
                  <a:pt x="116838" y="224534"/>
                </a:cubicBezTo>
                <a:cubicBezTo>
                  <a:pt x="120588" y="223979"/>
                  <a:pt x="124201" y="223423"/>
                  <a:pt x="127813" y="222867"/>
                </a:cubicBezTo>
                <a:cubicBezTo>
                  <a:pt x="122395" y="217171"/>
                  <a:pt x="117671" y="211475"/>
                  <a:pt x="113225" y="205640"/>
                </a:cubicBezTo>
                <a:cubicBezTo>
                  <a:pt x="116560" y="205085"/>
                  <a:pt x="119894" y="204529"/>
                  <a:pt x="123089" y="203973"/>
                </a:cubicBezTo>
                <a:cubicBezTo>
                  <a:pt x="118088" y="198277"/>
                  <a:pt x="113642" y="192442"/>
                  <a:pt x="109613" y="186607"/>
                </a:cubicBezTo>
                <a:cubicBezTo>
                  <a:pt x="112531" y="186191"/>
                  <a:pt x="115587" y="185635"/>
                  <a:pt x="118505" y="184940"/>
                </a:cubicBezTo>
                <a:cubicBezTo>
                  <a:pt x="113920" y="179244"/>
                  <a:pt x="109752" y="173409"/>
                  <a:pt x="106140" y="167574"/>
                </a:cubicBezTo>
                <a:cubicBezTo>
                  <a:pt x="108780" y="167158"/>
                  <a:pt x="111280" y="166602"/>
                  <a:pt x="113920" y="166046"/>
                </a:cubicBezTo>
                <a:cubicBezTo>
                  <a:pt x="109752" y="160350"/>
                  <a:pt x="102250" y="151042"/>
                  <a:pt x="98916" y="145207"/>
                </a:cubicBezTo>
                <a:cubicBezTo>
                  <a:pt x="101139" y="144790"/>
                  <a:pt x="107113" y="147708"/>
                  <a:pt x="109335" y="147152"/>
                </a:cubicBezTo>
                <a:cubicBezTo>
                  <a:pt x="105584" y="141456"/>
                  <a:pt x="98360" y="132426"/>
                  <a:pt x="95304" y="126452"/>
                </a:cubicBezTo>
                <a:cubicBezTo>
                  <a:pt x="97249" y="126035"/>
                  <a:pt x="102806" y="128675"/>
                  <a:pt x="104612" y="128258"/>
                </a:cubicBezTo>
                <a:cubicBezTo>
                  <a:pt x="101278" y="122423"/>
                  <a:pt x="92664" y="113115"/>
                  <a:pt x="89886" y="107141"/>
                </a:cubicBezTo>
                <a:cubicBezTo>
                  <a:pt x="91414" y="106724"/>
                  <a:pt x="98499" y="109781"/>
                  <a:pt x="100027" y="109225"/>
                </a:cubicBezTo>
                <a:cubicBezTo>
                  <a:pt x="98360" y="105891"/>
                  <a:pt x="88913" y="96722"/>
                  <a:pt x="87385" y="93387"/>
                </a:cubicBezTo>
                <a:cubicBezTo>
                  <a:pt x="88496" y="92971"/>
                  <a:pt x="97388" y="98389"/>
                  <a:pt x="98499" y="97972"/>
                </a:cubicBezTo>
                <a:cubicBezTo>
                  <a:pt x="96693" y="93526"/>
                  <a:pt x="91275" y="86024"/>
                  <a:pt x="89747" y="81440"/>
                </a:cubicBezTo>
                <a:cubicBezTo>
                  <a:pt x="90719" y="81162"/>
                  <a:pt x="95304" y="83801"/>
                  <a:pt x="96276" y="83385"/>
                </a:cubicBezTo>
                <a:cubicBezTo>
                  <a:pt x="90302" y="70326"/>
                  <a:pt x="83495" y="57961"/>
                  <a:pt x="79744" y="44207"/>
                </a:cubicBezTo>
                <a:cubicBezTo>
                  <a:pt x="73214" y="14894"/>
                  <a:pt x="76549" y="29620"/>
                  <a:pt x="72520" y="1557"/>
                </a:cubicBezTo>
                <a:lnTo>
                  <a:pt x="72520" y="1557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00287750-7FC1-DBF4-A03D-A03E2A5002D9}"/>
              </a:ext>
            </a:extLst>
          </p:cNvPr>
          <p:cNvSpPr/>
          <p:nvPr/>
        </p:nvSpPr>
        <p:spPr>
          <a:xfrm>
            <a:off x="2764238" y="5370875"/>
            <a:ext cx="733812" cy="1364156"/>
          </a:xfrm>
          <a:custGeom>
            <a:avLst/>
            <a:gdLst>
              <a:gd name="connsiteX0" fmla="*/ 401638 w 733812"/>
              <a:gd name="connsiteY0" fmla="*/ 8607 h 1364156"/>
              <a:gd name="connsiteX1" fmla="*/ 379409 w 733812"/>
              <a:gd name="connsiteY1" fmla="*/ 20415 h 1364156"/>
              <a:gd name="connsiteX2" fmla="*/ 334814 w 733812"/>
              <a:gd name="connsiteY2" fmla="*/ 220053 h 1364156"/>
              <a:gd name="connsiteX3" fmla="*/ 200888 w 733812"/>
              <a:gd name="connsiteY3" fmla="*/ 444559 h 1364156"/>
              <a:gd name="connsiteX4" fmla="*/ 276881 w 733812"/>
              <a:gd name="connsiteY4" fmla="*/ 413856 h 1364156"/>
              <a:gd name="connsiteX5" fmla="*/ 188941 w 733812"/>
              <a:gd name="connsiteY5" fmla="*/ 521525 h 1364156"/>
              <a:gd name="connsiteX6" fmla="*/ 248262 w 733812"/>
              <a:gd name="connsiteY6" fmla="*/ 522219 h 1364156"/>
              <a:gd name="connsiteX7" fmla="*/ 180049 w 733812"/>
              <a:gd name="connsiteY7" fmla="*/ 587237 h 1364156"/>
              <a:gd name="connsiteX8" fmla="*/ 254653 w 733812"/>
              <a:gd name="connsiteY8" fmla="*/ 578763 h 1364156"/>
              <a:gd name="connsiteX9" fmla="*/ 154209 w 733812"/>
              <a:gd name="connsiteY9" fmla="*/ 692405 h 1364156"/>
              <a:gd name="connsiteX10" fmla="*/ 261599 w 733812"/>
              <a:gd name="connsiteY10" fmla="*/ 684486 h 1364156"/>
              <a:gd name="connsiteX11" fmla="*/ 128507 w 733812"/>
              <a:gd name="connsiteY11" fmla="*/ 797434 h 1364156"/>
              <a:gd name="connsiteX12" fmla="*/ 209641 w 733812"/>
              <a:gd name="connsiteY12" fmla="*/ 800351 h 1364156"/>
              <a:gd name="connsiteX13" fmla="*/ 102806 w 733812"/>
              <a:gd name="connsiteY13" fmla="*/ 902462 h 1364156"/>
              <a:gd name="connsiteX14" fmla="*/ 182133 w 733812"/>
              <a:gd name="connsiteY14" fmla="*/ 908714 h 1364156"/>
              <a:gd name="connsiteX15" fmla="*/ 77104 w 733812"/>
              <a:gd name="connsiteY15" fmla="*/ 1007491 h 1364156"/>
              <a:gd name="connsiteX16" fmla="*/ 195609 w 733812"/>
              <a:gd name="connsiteY16" fmla="*/ 996377 h 1364156"/>
              <a:gd name="connsiteX17" fmla="*/ 51403 w 733812"/>
              <a:gd name="connsiteY17" fmla="*/ 1112659 h 1364156"/>
              <a:gd name="connsiteX18" fmla="*/ 161572 w 733812"/>
              <a:gd name="connsiteY18" fmla="*/ 1112103 h 1364156"/>
              <a:gd name="connsiteX19" fmla="*/ 25701 w 733812"/>
              <a:gd name="connsiteY19" fmla="*/ 1217688 h 1364156"/>
              <a:gd name="connsiteX20" fmla="*/ 104612 w 733812"/>
              <a:gd name="connsiteY20" fmla="*/ 1233664 h 1364156"/>
              <a:gd name="connsiteX21" fmla="*/ 0 w 733812"/>
              <a:gd name="connsiteY21" fmla="*/ 1322855 h 1364156"/>
              <a:gd name="connsiteX22" fmla="*/ 733812 w 733812"/>
              <a:gd name="connsiteY22" fmla="*/ 1338832 h 1364156"/>
              <a:gd name="connsiteX23" fmla="*/ 647260 w 733812"/>
              <a:gd name="connsiteY23" fmla="*/ 1243250 h 1364156"/>
              <a:gd name="connsiteX24" fmla="*/ 708111 w 733812"/>
              <a:gd name="connsiteY24" fmla="*/ 1233664 h 1364156"/>
              <a:gd name="connsiteX25" fmla="*/ 627533 w 733812"/>
              <a:gd name="connsiteY25" fmla="*/ 1137944 h 1364156"/>
              <a:gd name="connsiteX26" fmla="*/ 682409 w 733812"/>
              <a:gd name="connsiteY26" fmla="*/ 1128635 h 1364156"/>
              <a:gd name="connsiteX27" fmla="*/ 607666 w 733812"/>
              <a:gd name="connsiteY27" fmla="*/ 1032637 h 1364156"/>
              <a:gd name="connsiteX28" fmla="*/ 656708 w 733812"/>
              <a:gd name="connsiteY28" fmla="*/ 1023468 h 1364156"/>
              <a:gd name="connsiteX29" fmla="*/ 587939 w 733812"/>
              <a:gd name="connsiteY29" fmla="*/ 927191 h 1364156"/>
              <a:gd name="connsiteX30" fmla="*/ 631006 w 733812"/>
              <a:gd name="connsiteY30" fmla="*/ 918300 h 1364156"/>
              <a:gd name="connsiteX31" fmla="*/ 547650 w 733812"/>
              <a:gd name="connsiteY31" fmla="*/ 802574 h 1364156"/>
              <a:gd name="connsiteX32" fmla="*/ 605305 w 733812"/>
              <a:gd name="connsiteY32" fmla="*/ 813271 h 1364156"/>
              <a:gd name="connsiteX33" fmla="*/ 527783 w 733812"/>
              <a:gd name="connsiteY33" fmla="*/ 698518 h 1364156"/>
              <a:gd name="connsiteX34" fmla="*/ 579603 w 733812"/>
              <a:gd name="connsiteY34" fmla="*/ 708243 h 1364156"/>
              <a:gd name="connsiteX35" fmla="*/ 497775 w 733812"/>
              <a:gd name="connsiteY35" fmla="*/ 591405 h 1364156"/>
              <a:gd name="connsiteX36" fmla="*/ 553902 w 733812"/>
              <a:gd name="connsiteY36" fmla="*/ 603075 h 1364156"/>
              <a:gd name="connsiteX37" fmla="*/ 483744 w 733812"/>
              <a:gd name="connsiteY37" fmla="*/ 515690 h 1364156"/>
              <a:gd name="connsiteX38" fmla="*/ 545010 w 733812"/>
              <a:gd name="connsiteY38" fmla="*/ 541253 h 1364156"/>
              <a:gd name="connsiteX39" fmla="*/ 496664 w 733812"/>
              <a:gd name="connsiteY39" fmla="*/ 449561 h 1364156"/>
              <a:gd name="connsiteX40" fmla="*/ 533063 w 733812"/>
              <a:gd name="connsiteY40" fmla="*/ 460397 h 1364156"/>
              <a:gd name="connsiteX41" fmla="*/ 441371 w 733812"/>
              <a:gd name="connsiteY41" fmla="*/ 242976 h 1364156"/>
              <a:gd name="connsiteX42" fmla="*/ 401638 w 733812"/>
              <a:gd name="connsiteY42" fmla="*/ 8607 h 1364156"/>
              <a:gd name="connsiteX43" fmla="*/ 401638 w 733812"/>
              <a:gd name="connsiteY43" fmla="*/ 8607 h 1364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33812" h="1364156">
                <a:moveTo>
                  <a:pt x="401638" y="8607"/>
                </a:moveTo>
                <a:cubicBezTo>
                  <a:pt x="399971" y="-3897"/>
                  <a:pt x="382466" y="-5008"/>
                  <a:pt x="379409" y="20415"/>
                </a:cubicBezTo>
                <a:cubicBezTo>
                  <a:pt x="363433" y="149617"/>
                  <a:pt x="363155" y="133641"/>
                  <a:pt x="334814" y="220053"/>
                </a:cubicBezTo>
                <a:cubicBezTo>
                  <a:pt x="310085" y="306744"/>
                  <a:pt x="247151" y="368983"/>
                  <a:pt x="200888" y="444559"/>
                </a:cubicBezTo>
                <a:cubicBezTo>
                  <a:pt x="207696" y="447755"/>
                  <a:pt x="269796" y="410939"/>
                  <a:pt x="276881" y="413856"/>
                </a:cubicBezTo>
                <a:cubicBezTo>
                  <a:pt x="266740" y="436918"/>
                  <a:pt x="200611" y="499435"/>
                  <a:pt x="188941" y="521525"/>
                </a:cubicBezTo>
                <a:cubicBezTo>
                  <a:pt x="196998" y="525970"/>
                  <a:pt x="239927" y="518330"/>
                  <a:pt x="248262" y="522219"/>
                </a:cubicBezTo>
                <a:cubicBezTo>
                  <a:pt x="237843" y="540280"/>
                  <a:pt x="191997" y="569871"/>
                  <a:pt x="180049" y="587237"/>
                </a:cubicBezTo>
                <a:cubicBezTo>
                  <a:pt x="191719" y="592239"/>
                  <a:pt x="242289" y="574595"/>
                  <a:pt x="254653" y="578763"/>
                </a:cubicBezTo>
                <a:cubicBezTo>
                  <a:pt x="236315" y="610160"/>
                  <a:pt x="177410" y="662952"/>
                  <a:pt x="154209" y="692405"/>
                </a:cubicBezTo>
                <a:cubicBezTo>
                  <a:pt x="168241" y="697684"/>
                  <a:pt x="246873" y="680179"/>
                  <a:pt x="261599" y="684486"/>
                </a:cubicBezTo>
                <a:cubicBezTo>
                  <a:pt x="241177" y="715745"/>
                  <a:pt x="154209" y="768259"/>
                  <a:pt x="128507" y="797434"/>
                </a:cubicBezTo>
                <a:cubicBezTo>
                  <a:pt x="144762" y="802852"/>
                  <a:pt x="192414" y="795905"/>
                  <a:pt x="209641" y="800351"/>
                </a:cubicBezTo>
                <a:cubicBezTo>
                  <a:pt x="187135" y="831471"/>
                  <a:pt x="131147" y="873427"/>
                  <a:pt x="102806" y="902462"/>
                </a:cubicBezTo>
                <a:cubicBezTo>
                  <a:pt x="121422" y="908019"/>
                  <a:pt x="162406" y="904268"/>
                  <a:pt x="182133" y="908714"/>
                </a:cubicBezTo>
                <a:cubicBezTo>
                  <a:pt x="157404" y="939695"/>
                  <a:pt x="108085" y="978594"/>
                  <a:pt x="77104" y="1007491"/>
                </a:cubicBezTo>
                <a:cubicBezTo>
                  <a:pt x="97944" y="1013187"/>
                  <a:pt x="173520" y="991792"/>
                  <a:pt x="195609" y="996377"/>
                </a:cubicBezTo>
                <a:cubicBezTo>
                  <a:pt x="168796" y="1027219"/>
                  <a:pt x="85023" y="1083762"/>
                  <a:pt x="51403" y="1112659"/>
                </a:cubicBezTo>
                <a:cubicBezTo>
                  <a:pt x="74604" y="1118494"/>
                  <a:pt x="136982" y="1107519"/>
                  <a:pt x="161572" y="1112103"/>
                </a:cubicBezTo>
                <a:cubicBezTo>
                  <a:pt x="132675" y="1142806"/>
                  <a:pt x="61961" y="1188930"/>
                  <a:pt x="25701" y="1217688"/>
                </a:cubicBezTo>
                <a:cubicBezTo>
                  <a:pt x="51125" y="1223661"/>
                  <a:pt x="77521" y="1228941"/>
                  <a:pt x="104612" y="1233664"/>
                </a:cubicBezTo>
                <a:cubicBezTo>
                  <a:pt x="73631" y="1264228"/>
                  <a:pt x="38900" y="1294097"/>
                  <a:pt x="0" y="1322855"/>
                </a:cubicBezTo>
                <a:cubicBezTo>
                  <a:pt x="216587" y="1369535"/>
                  <a:pt x="491524" y="1379121"/>
                  <a:pt x="733812" y="1338832"/>
                </a:cubicBezTo>
                <a:cubicBezTo>
                  <a:pt x="701859" y="1307434"/>
                  <a:pt x="673240" y="1275620"/>
                  <a:pt x="647260" y="1243250"/>
                </a:cubicBezTo>
                <a:cubicBezTo>
                  <a:pt x="667683" y="1240472"/>
                  <a:pt x="687966" y="1237276"/>
                  <a:pt x="708111" y="1233664"/>
                </a:cubicBezTo>
                <a:cubicBezTo>
                  <a:pt x="678380" y="1202267"/>
                  <a:pt x="651706" y="1170314"/>
                  <a:pt x="627533" y="1137944"/>
                </a:cubicBezTo>
                <a:cubicBezTo>
                  <a:pt x="646010" y="1135165"/>
                  <a:pt x="664349" y="1132109"/>
                  <a:pt x="682409" y="1128635"/>
                </a:cubicBezTo>
                <a:cubicBezTo>
                  <a:pt x="654902" y="1097099"/>
                  <a:pt x="630173" y="1065146"/>
                  <a:pt x="607666" y="1032637"/>
                </a:cubicBezTo>
                <a:cubicBezTo>
                  <a:pt x="624199" y="1029997"/>
                  <a:pt x="640453" y="1026941"/>
                  <a:pt x="656708" y="1023468"/>
                </a:cubicBezTo>
                <a:cubicBezTo>
                  <a:pt x="631284" y="991931"/>
                  <a:pt x="608500" y="959700"/>
                  <a:pt x="587939" y="927191"/>
                </a:cubicBezTo>
                <a:cubicBezTo>
                  <a:pt x="602387" y="924552"/>
                  <a:pt x="616835" y="921634"/>
                  <a:pt x="631006" y="918300"/>
                </a:cubicBezTo>
                <a:cubicBezTo>
                  <a:pt x="607805" y="886625"/>
                  <a:pt x="566405" y="835222"/>
                  <a:pt x="547650" y="802574"/>
                </a:cubicBezTo>
                <a:cubicBezTo>
                  <a:pt x="560153" y="800073"/>
                  <a:pt x="593079" y="816467"/>
                  <a:pt x="605305" y="813271"/>
                </a:cubicBezTo>
                <a:cubicBezTo>
                  <a:pt x="584327" y="781457"/>
                  <a:pt x="544871" y="731305"/>
                  <a:pt x="527783" y="698518"/>
                </a:cubicBezTo>
                <a:cubicBezTo>
                  <a:pt x="538342" y="696156"/>
                  <a:pt x="569184" y="711160"/>
                  <a:pt x="579603" y="708243"/>
                </a:cubicBezTo>
                <a:cubicBezTo>
                  <a:pt x="560709" y="676289"/>
                  <a:pt x="513057" y="624470"/>
                  <a:pt x="497775" y="591405"/>
                </a:cubicBezTo>
                <a:cubicBezTo>
                  <a:pt x="506250" y="589182"/>
                  <a:pt x="545566" y="605853"/>
                  <a:pt x="553902" y="603075"/>
                </a:cubicBezTo>
                <a:cubicBezTo>
                  <a:pt x="544455" y="584876"/>
                  <a:pt x="492079" y="534167"/>
                  <a:pt x="483744" y="515690"/>
                </a:cubicBezTo>
                <a:cubicBezTo>
                  <a:pt x="489717" y="513467"/>
                  <a:pt x="539175" y="543753"/>
                  <a:pt x="545010" y="541253"/>
                </a:cubicBezTo>
                <a:cubicBezTo>
                  <a:pt x="535147" y="516385"/>
                  <a:pt x="505277" y="474984"/>
                  <a:pt x="496664" y="449561"/>
                </a:cubicBezTo>
                <a:cubicBezTo>
                  <a:pt x="501943" y="447894"/>
                  <a:pt x="527783" y="462342"/>
                  <a:pt x="533063" y="460397"/>
                </a:cubicBezTo>
                <a:cubicBezTo>
                  <a:pt x="499720" y="387738"/>
                  <a:pt x="462071" y="319525"/>
                  <a:pt x="441371" y="242976"/>
                </a:cubicBezTo>
                <a:cubicBezTo>
                  <a:pt x="405111" y="82516"/>
                  <a:pt x="423866" y="164344"/>
                  <a:pt x="401638" y="8607"/>
                </a:cubicBezTo>
                <a:lnTo>
                  <a:pt x="401638" y="8607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F9C32B16-7319-96FF-8FD8-B8A38083E6A3}"/>
              </a:ext>
            </a:extLst>
          </p:cNvPr>
          <p:cNvSpPr/>
          <p:nvPr/>
        </p:nvSpPr>
        <p:spPr>
          <a:xfrm>
            <a:off x="3536013" y="5588215"/>
            <a:ext cx="368434" cy="684798"/>
          </a:xfrm>
          <a:custGeom>
            <a:avLst/>
            <a:gdLst>
              <a:gd name="connsiteX0" fmla="*/ 201861 w 368434"/>
              <a:gd name="connsiteY0" fmla="*/ 4298 h 684798"/>
              <a:gd name="connsiteX1" fmla="*/ 190608 w 368434"/>
              <a:gd name="connsiteY1" fmla="*/ 10272 h 684798"/>
              <a:gd name="connsiteX2" fmla="*/ 168241 w 368434"/>
              <a:gd name="connsiteY2" fmla="*/ 110438 h 684798"/>
              <a:gd name="connsiteX3" fmla="*/ 101000 w 368434"/>
              <a:gd name="connsiteY3" fmla="*/ 223108 h 684798"/>
              <a:gd name="connsiteX4" fmla="*/ 139205 w 368434"/>
              <a:gd name="connsiteY4" fmla="*/ 207687 h 684798"/>
              <a:gd name="connsiteX5" fmla="*/ 95026 w 368434"/>
              <a:gd name="connsiteY5" fmla="*/ 261730 h 684798"/>
              <a:gd name="connsiteX6" fmla="*/ 124756 w 368434"/>
              <a:gd name="connsiteY6" fmla="*/ 262146 h 684798"/>
              <a:gd name="connsiteX7" fmla="*/ 90441 w 368434"/>
              <a:gd name="connsiteY7" fmla="*/ 294794 h 684798"/>
              <a:gd name="connsiteX8" fmla="*/ 127952 w 368434"/>
              <a:gd name="connsiteY8" fmla="*/ 290487 h 684798"/>
              <a:gd name="connsiteX9" fmla="*/ 77521 w 368434"/>
              <a:gd name="connsiteY9" fmla="*/ 347586 h 684798"/>
              <a:gd name="connsiteX10" fmla="*/ 131425 w 368434"/>
              <a:gd name="connsiteY10" fmla="*/ 343557 h 684798"/>
              <a:gd name="connsiteX11" fmla="*/ 64601 w 368434"/>
              <a:gd name="connsiteY11" fmla="*/ 400240 h 684798"/>
              <a:gd name="connsiteX12" fmla="*/ 105307 w 368434"/>
              <a:gd name="connsiteY12" fmla="*/ 401629 h 684798"/>
              <a:gd name="connsiteX13" fmla="*/ 51681 w 368434"/>
              <a:gd name="connsiteY13" fmla="*/ 452893 h 684798"/>
              <a:gd name="connsiteX14" fmla="*/ 91553 w 368434"/>
              <a:gd name="connsiteY14" fmla="*/ 456088 h 684798"/>
              <a:gd name="connsiteX15" fmla="*/ 38761 w 368434"/>
              <a:gd name="connsiteY15" fmla="*/ 505685 h 684798"/>
              <a:gd name="connsiteX16" fmla="*/ 98221 w 368434"/>
              <a:gd name="connsiteY16" fmla="*/ 500128 h 684798"/>
              <a:gd name="connsiteX17" fmla="*/ 25840 w 368434"/>
              <a:gd name="connsiteY17" fmla="*/ 558477 h 684798"/>
              <a:gd name="connsiteX18" fmla="*/ 81133 w 368434"/>
              <a:gd name="connsiteY18" fmla="*/ 558200 h 684798"/>
              <a:gd name="connsiteX19" fmla="*/ 12920 w 368434"/>
              <a:gd name="connsiteY19" fmla="*/ 611270 h 684798"/>
              <a:gd name="connsiteX20" fmla="*/ 52514 w 368434"/>
              <a:gd name="connsiteY20" fmla="*/ 619327 h 684798"/>
              <a:gd name="connsiteX21" fmla="*/ 0 w 368434"/>
              <a:gd name="connsiteY21" fmla="*/ 664062 h 684798"/>
              <a:gd name="connsiteX22" fmla="*/ 368434 w 368434"/>
              <a:gd name="connsiteY22" fmla="*/ 672120 h 684798"/>
              <a:gd name="connsiteX23" fmla="*/ 324950 w 368434"/>
              <a:gd name="connsiteY23" fmla="*/ 624190 h 684798"/>
              <a:gd name="connsiteX24" fmla="*/ 355514 w 368434"/>
              <a:gd name="connsiteY24" fmla="*/ 619327 h 684798"/>
              <a:gd name="connsiteX25" fmla="*/ 315086 w 368434"/>
              <a:gd name="connsiteY25" fmla="*/ 571259 h 684798"/>
              <a:gd name="connsiteX26" fmla="*/ 342594 w 368434"/>
              <a:gd name="connsiteY26" fmla="*/ 566535 h 684798"/>
              <a:gd name="connsiteX27" fmla="*/ 305083 w 368434"/>
              <a:gd name="connsiteY27" fmla="*/ 518328 h 684798"/>
              <a:gd name="connsiteX28" fmla="*/ 329674 w 368434"/>
              <a:gd name="connsiteY28" fmla="*/ 513743 h 684798"/>
              <a:gd name="connsiteX29" fmla="*/ 295081 w 368434"/>
              <a:gd name="connsiteY29" fmla="*/ 465396 h 684798"/>
              <a:gd name="connsiteX30" fmla="*/ 316753 w 368434"/>
              <a:gd name="connsiteY30" fmla="*/ 460951 h 684798"/>
              <a:gd name="connsiteX31" fmla="*/ 274797 w 368434"/>
              <a:gd name="connsiteY31" fmla="*/ 402879 h 684798"/>
              <a:gd name="connsiteX32" fmla="*/ 303694 w 368434"/>
              <a:gd name="connsiteY32" fmla="*/ 408297 h 684798"/>
              <a:gd name="connsiteX33" fmla="*/ 264795 w 368434"/>
              <a:gd name="connsiteY33" fmla="*/ 350643 h 684798"/>
              <a:gd name="connsiteX34" fmla="*/ 290774 w 368434"/>
              <a:gd name="connsiteY34" fmla="*/ 355505 h 684798"/>
              <a:gd name="connsiteX35" fmla="*/ 249652 w 368434"/>
              <a:gd name="connsiteY35" fmla="*/ 296878 h 684798"/>
              <a:gd name="connsiteX36" fmla="*/ 277854 w 368434"/>
              <a:gd name="connsiteY36" fmla="*/ 302713 h 684798"/>
              <a:gd name="connsiteX37" fmla="*/ 242566 w 368434"/>
              <a:gd name="connsiteY37" fmla="*/ 258812 h 684798"/>
              <a:gd name="connsiteX38" fmla="*/ 273269 w 368434"/>
              <a:gd name="connsiteY38" fmla="*/ 271593 h 684798"/>
              <a:gd name="connsiteX39" fmla="*/ 248957 w 368434"/>
              <a:gd name="connsiteY39" fmla="*/ 225609 h 684798"/>
              <a:gd name="connsiteX40" fmla="*/ 267295 w 368434"/>
              <a:gd name="connsiteY40" fmla="*/ 231027 h 684798"/>
              <a:gd name="connsiteX41" fmla="*/ 221172 w 368434"/>
              <a:gd name="connsiteY41" fmla="*/ 121830 h 684798"/>
              <a:gd name="connsiteX42" fmla="*/ 201861 w 368434"/>
              <a:gd name="connsiteY42" fmla="*/ 4298 h 684798"/>
              <a:gd name="connsiteX43" fmla="*/ 201861 w 368434"/>
              <a:gd name="connsiteY43" fmla="*/ 4298 h 684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68434" h="684798">
                <a:moveTo>
                  <a:pt x="201861" y="4298"/>
                </a:moveTo>
                <a:cubicBezTo>
                  <a:pt x="201027" y="-1954"/>
                  <a:pt x="192275" y="-2510"/>
                  <a:pt x="190608" y="10272"/>
                </a:cubicBezTo>
                <a:cubicBezTo>
                  <a:pt x="182550" y="75151"/>
                  <a:pt x="182411" y="67093"/>
                  <a:pt x="168241" y="110438"/>
                </a:cubicBezTo>
                <a:cubicBezTo>
                  <a:pt x="155876" y="153922"/>
                  <a:pt x="124201" y="185181"/>
                  <a:pt x="101000" y="223108"/>
                </a:cubicBezTo>
                <a:cubicBezTo>
                  <a:pt x="104473" y="224775"/>
                  <a:pt x="135593" y="206298"/>
                  <a:pt x="139205" y="207687"/>
                </a:cubicBezTo>
                <a:cubicBezTo>
                  <a:pt x="134064" y="219218"/>
                  <a:pt x="100861" y="250615"/>
                  <a:pt x="95026" y="261730"/>
                </a:cubicBezTo>
                <a:cubicBezTo>
                  <a:pt x="99055" y="263952"/>
                  <a:pt x="120588" y="260062"/>
                  <a:pt x="124756" y="262146"/>
                </a:cubicBezTo>
                <a:cubicBezTo>
                  <a:pt x="119477" y="271177"/>
                  <a:pt x="96554" y="286042"/>
                  <a:pt x="90441" y="294794"/>
                </a:cubicBezTo>
                <a:cubicBezTo>
                  <a:pt x="96276" y="297295"/>
                  <a:pt x="121700" y="288403"/>
                  <a:pt x="127952" y="290487"/>
                </a:cubicBezTo>
                <a:cubicBezTo>
                  <a:pt x="118782" y="306325"/>
                  <a:pt x="89191" y="332721"/>
                  <a:pt x="77521" y="347586"/>
                </a:cubicBezTo>
                <a:cubicBezTo>
                  <a:pt x="84606" y="350226"/>
                  <a:pt x="124062" y="341474"/>
                  <a:pt x="131425" y="343557"/>
                </a:cubicBezTo>
                <a:cubicBezTo>
                  <a:pt x="121144" y="359256"/>
                  <a:pt x="77521" y="385652"/>
                  <a:pt x="64601" y="400240"/>
                </a:cubicBezTo>
                <a:cubicBezTo>
                  <a:pt x="72798" y="403018"/>
                  <a:pt x="96693" y="399545"/>
                  <a:pt x="105307" y="401629"/>
                </a:cubicBezTo>
                <a:cubicBezTo>
                  <a:pt x="94053" y="417189"/>
                  <a:pt x="65851" y="438306"/>
                  <a:pt x="51681" y="452893"/>
                </a:cubicBezTo>
                <a:cubicBezTo>
                  <a:pt x="60989" y="455671"/>
                  <a:pt x="81550" y="453727"/>
                  <a:pt x="91553" y="456088"/>
                </a:cubicBezTo>
                <a:cubicBezTo>
                  <a:pt x="79188" y="471648"/>
                  <a:pt x="54320" y="491098"/>
                  <a:pt x="38761" y="505685"/>
                </a:cubicBezTo>
                <a:cubicBezTo>
                  <a:pt x="49180" y="508603"/>
                  <a:pt x="87107" y="497766"/>
                  <a:pt x="98221" y="500128"/>
                </a:cubicBezTo>
                <a:cubicBezTo>
                  <a:pt x="84745" y="515549"/>
                  <a:pt x="42650" y="544029"/>
                  <a:pt x="25840" y="558477"/>
                </a:cubicBezTo>
                <a:cubicBezTo>
                  <a:pt x="37510" y="561395"/>
                  <a:pt x="68769" y="555838"/>
                  <a:pt x="81133" y="558200"/>
                </a:cubicBezTo>
                <a:cubicBezTo>
                  <a:pt x="66685" y="573620"/>
                  <a:pt x="31119" y="596821"/>
                  <a:pt x="12920" y="611270"/>
                </a:cubicBezTo>
                <a:cubicBezTo>
                  <a:pt x="25701" y="614187"/>
                  <a:pt x="38899" y="616966"/>
                  <a:pt x="52514" y="619327"/>
                </a:cubicBezTo>
                <a:cubicBezTo>
                  <a:pt x="36954" y="634748"/>
                  <a:pt x="19589" y="649613"/>
                  <a:pt x="0" y="664062"/>
                </a:cubicBezTo>
                <a:cubicBezTo>
                  <a:pt x="108780" y="687541"/>
                  <a:pt x="246734" y="692264"/>
                  <a:pt x="368434" y="672120"/>
                </a:cubicBezTo>
                <a:cubicBezTo>
                  <a:pt x="352458" y="656421"/>
                  <a:pt x="338009" y="640305"/>
                  <a:pt x="324950" y="624190"/>
                </a:cubicBezTo>
                <a:cubicBezTo>
                  <a:pt x="335231" y="622801"/>
                  <a:pt x="345372" y="621134"/>
                  <a:pt x="355514" y="619327"/>
                </a:cubicBezTo>
                <a:cubicBezTo>
                  <a:pt x="340649" y="603490"/>
                  <a:pt x="327173" y="587513"/>
                  <a:pt x="315086" y="571259"/>
                </a:cubicBezTo>
                <a:cubicBezTo>
                  <a:pt x="324394" y="569869"/>
                  <a:pt x="333563" y="568341"/>
                  <a:pt x="342594" y="566535"/>
                </a:cubicBezTo>
                <a:cubicBezTo>
                  <a:pt x="328701" y="550698"/>
                  <a:pt x="316336" y="534582"/>
                  <a:pt x="305083" y="518328"/>
                </a:cubicBezTo>
                <a:cubicBezTo>
                  <a:pt x="313419" y="516938"/>
                  <a:pt x="321616" y="515410"/>
                  <a:pt x="329674" y="513743"/>
                </a:cubicBezTo>
                <a:cubicBezTo>
                  <a:pt x="316892" y="497905"/>
                  <a:pt x="305500" y="481790"/>
                  <a:pt x="295081" y="465396"/>
                </a:cubicBezTo>
                <a:cubicBezTo>
                  <a:pt x="302305" y="464146"/>
                  <a:pt x="309529" y="462618"/>
                  <a:pt x="316753" y="460951"/>
                </a:cubicBezTo>
                <a:cubicBezTo>
                  <a:pt x="305083" y="444974"/>
                  <a:pt x="284383" y="419134"/>
                  <a:pt x="274797" y="402879"/>
                </a:cubicBezTo>
                <a:cubicBezTo>
                  <a:pt x="281049" y="401629"/>
                  <a:pt x="297581" y="409826"/>
                  <a:pt x="303694" y="408297"/>
                </a:cubicBezTo>
                <a:cubicBezTo>
                  <a:pt x="293136" y="392321"/>
                  <a:pt x="273408" y="367175"/>
                  <a:pt x="264795" y="350643"/>
                </a:cubicBezTo>
                <a:cubicBezTo>
                  <a:pt x="270074" y="349392"/>
                  <a:pt x="285634" y="357033"/>
                  <a:pt x="290774" y="355505"/>
                </a:cubicBezTo>
                <a:cubicBezTo>
                  <a:pt x="281327" y="339390"/>
                  <a:pt x="257293" y="313410"/>
                  <a:pt x="249652" y="296878"/>
                </a:cubicBezTo>
                <a:cubicBezTo>
                  <a:pt x="253958" y="295767"/>
                  <a:pt x="273686" y="304102"/>
                  <a:pt x="277854" y="302713"/>
                </a:cubicBezTo>
                <a:cubicBezTo>
                  <a:pt x="273130" y="293544"/>
                  <a:pt x="246734" y="268120"/>
                  <a:pt x="242566" y="258812"/>
                </a:cubicBezTo>
                <a:cubicBezTo>
                  <a:pt x="245484" y="257701"/>
                  <a:pt x="270352" y="272844"/>
                  <a:pt x="273269" y="271593"/>
                </a:cubicBezTo>
                <a:cubicBezTo>
                  <a:pt x="268268" y="259090"/>
                  <a:pt x="253403" y="238251"/>
                  <a:pt x="248957" y="225609"/>
                </a:cubicBezTo>
                <a:cubicBezTo>
                  <a:pt x="251597" y="224775"/>
                  <a:pt x="264656" y="231999"/>
                  <a:pt x="267295" y="231027"/>
                </a:cubicBezTo>
                <a:cubicBezTo>
                  <a:pt x="250485" y="194628"/>
                  <a:pt x="231591" y="160313"/>
                  <a:pt x="221172" y="121830"/>
                </a:cubicBezTo>
                <a:cubicBezTo>
                  <a:pt x="203528" y="41391"/>
                  <a:pt x="212975" y="82514"/>
                  <a:pt x="201861" y="4298"/>
                </a:cubicBezTo>
                <a:lnTo>
                  <a:pt x="201861" y="4298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BC2F8861-AD82-CB09-5FD1-48E04E5275DE}"/>
              </a:ext>
            </a:extLst>
          </p:cNvPr>
          <p:cNvSpPr/>
          <p:nvPr/>
        </p:nvSpPr>
        <p:spPr>
          <a:xfrm>
            <a:off x="8351403" y="5266278"/>
            <a:ext cx="1152676" cy="2143307"/>
          </a:xfrm>
          <a:custGeom>
            <a:avLst/>
            <a:gdLst>
              <a:gd name="connsiteX0" fmla="*/ 521532 w 1152676"/>
              <a:gd name="connsiteY0" fmla="*/ 13495 h 2143307"/>
              <a:gd name="connsiteX1" fmla="*/ 556541 w 1152676"/>
              <a:gd name="connsiteY1" fmla="*/ 32111 h 2143307"/>
              <a:gd name="connsiteX2" fmla="*/ 626561 w 1152676"/>
              <a:gd name="connsiteY2" fmla="*/ 345669 h 2143307"/>
              <a:gd name="connsiteX3" fmla="*/ 836896 w 1152676"/>
              <a:gd name="connsiteY3" fmla="*/ 698266 h 2143307"/>
              <a:gd name="connsiteX4" fmla="*/ 717418 w 1152676"/>
              <a:gd name="connsiteY4" fmla="*/ 650058 h 2143307"/>
              <a:gd name="connsiteX5" fmla="*/ 855651 w 1152676"/>
              <a:gd name="connsiteY5" fmla="*/ 819271 h 2143307"/>
              <a:gd name="connsiteX6" fmla="*/ 762431 w 1152676"/>
              <a:gd name="connsiteY6" fmla="*/ 820383 h 2143307"/>
              <a:gd name="connsiteX7" fmla="*/ 869683 w 1152676"/>
              <a:gd name="connsiteY7" fmla="*/ 922633 h 2143307"/>
              <a:gd name="connsiteX8" fmla="*/ 752428 w 1152676"/>
              <a:gd name="connsiteY8" fmla="*/ 909296 h 2143307"/>
              <a:gd name="connsiteX9" fmla="*/ 910110 w 1152676"/>
              <a:gd name="connsiteY9" fmla="*/ 1087817 h 2143307"/>
              <a:gd name="connsiteX10" fmla="*/ 741453 w 1152676"/>
              <a:gd name="connsiteY10" fmla="*/ 1075452 h 2143307"/>
              <a:gd name="connsiteX11" fmla="*/ 950538 w 1152676"/>
              <a:gd name="connsiteY11" fmla="*/ 1253001 h 2143307"/>
              <a:gd name="connsiteX12" fmla="*/ 823003 w 1152676"/>
              <a:gd name="connsiteY12" fmla="*/ 1257586 h 2143307"/>
              <a:gd name="connsiteX13" fmla="*/ 990966 w 1152676"/>
              <a:gd name="connsiteY13" fmla="*/ 1418046 h 2143307"/>
              <a:gd name="connsiteX14" fmla="*/ 866488 w 1152676"/>
              <a:gd name="connsiteY14" fmla="*/ 1427910 h 2143307"/>
              <a:gd name="connsiteX15" fmla="*/ 1031394 w 1152676"/>
              <a:gd name="connsiteY15" fmla="*/ 1583230 h 2143307"/>
              <a:gd name="connsiteX16" fmla="*/ 845231 w 1152676"/>
              <a:gd name="connsiteY16" fmla="*/ 1565726 h 2143307"/>
              <a:gd name="connsiteX17" fmla="*/ 1071821 w 1152676"/>
              <a:gd name="connsiteY17" fmla="*/ 1748276 h 2143307"/>
              <a:gd name="connsiteX18" fmla="*/ 898718 w 1152676"/>
              <a:gd name="connsiteY18" fmla="*/ 1747442 h 2143307"/>
              <a:gd name="connsiteX19" fmla="*/ 1112249 w 1152676"/>
              <a:gd name="connsiteY19" fmla="*/ 1913321 h 2143307"/>
              <a:gd name="connsiteX20" fmla="*/ 988465 w 1152676"/>
              <a:gd name="connsiteY20" fmla="*/ 1938327 h 2143307"/>
              <a:gd name="connsiteX21" fmla="*/ 1152677 w 1152676"/>
              <a:gd name="connsiteY21" fmla="*/ 2078366 h 2143307"/>
              <a:gd name="connsiteX22" fmla="*/ 0 w 1152676"/>
              <a:gd name="connsiteY22" fmla="*/ 2103512 h 2143307"/>
              <a:gd name="connsiteX23" fmla="*/ 136010 w 1152676"/>
              <a:gd name="connsiteY23" fmla="*/ 1953470 h 2143307"/>
              <a:gd name="connsiteX24" fmla="*/ 40428 w 1152676"/>
              <a:gd name="connsiteY24" fmla="*/ 1938467 h 2143307"/>
              <a:gd name="connsiteX25" fmla="*/ 167129 w 1152676"/>
              <a:gd name="connsiteY25" fmla="*/ 1788147 h 2143307"/>
              <a:gd name="connsiteX26" fmla="*/ 80856 w 1152676"/>
              <a:gd name="connsiteY26" fmla="*/ 1773421 h 2143307"/>
              <a:gd name="connsiteX27" fmla="*/ 198249 w 1152676"/>
              <a:gd name="connsiteY27" fmla="*/ 1622685 h 2143307"/>
              <a:gd name="connsiteX28" fmla="*/ 121283 w 1152676"/>
              <a:gd name="connsiteY28" fmla="*/ 1608376 h 2143307"/>
              <a:gd name="connsiteX29" fmla="*/ 229368 w 1152676"/>
              <a:gd name="connsiteY29" fmla="*/ 1457223 h 2143307"/>
              <a:gd name="connsiteX30" fmla="*/ 161711 w 1152676"/>
              <a:gd name="connsiteY30" fmla="*/ 1443331 h 2143307"/>
              <a:gd name="connsiteX31" fmla="*/ 292719 w 1152676"/>
              <a:gd name="connsiteY31" fmla="*/ 1261476 h 2143307"/>
              <a:gd name="connsiteX32" fmla="*/ 202139 w 1152676"/>
              <a:gd name="connsiteY32" fmla="*/ 1278286 h 2143307"/>
              <a:gd name="connsiteX33" fmla="*/ 323839 w 1152676"/>
              <a:gd name="connsiteY33" fmla="*/ 1098098 h 2143307"/>
              <a:gd name="connsiteX34" fmla="*/ 242566 w 1152676"/>
              <a:gd name="connsiteY34" fmla="*/ 1113241 h 2143307"/>
              <a:gd name="connsiteX35" fmla="*/ 371213 w 1152676"/>
              <a:gd name="connsiteY35" fmla="*/ 929857 h 2143307"/>
              <a:gd name="connsiteX36" fmla="*/ 282994 w 1152676"/>
              <a:gd name="connsiteY36" fmla="*/ 948195 h 2143307"/>
              <a:gd name="connsiteX37" fmla="*/ 393302 w 1152676"/>
              <a:gd name="connsiteY37" fmla="*/ 810797 h 2143307"/>
              <a:gd name="connsiteX38" fmla="*/ 297026 w 1152676"/>
              <a:gd name="connsiteY38" fmla="*/ 850947 h 2143307"/>
              <a:gd name="connsiteX39" fmla="*/ 373019 w 1152676"/>
              <a:gd name="connsiteY39" fmla="*/ 707018 h 2143307"/>
              <a:gd name="connsiteX40" fmla="*/ 315781 w 1152676"/>
              <a:gd name="connsiteY40" fmla="*/ 723967 h 2143307"/>
              <a:gd name="connsiteX41" fmla="*/ 459848 w 1152676"/>
              <a:gd name="connsiteY41" fmla="*/ 382485 h 2143307"/>
              <a:gd name="connsiteX42" fmla="*/ 521532 w 1152676"/>
              <a:gd name="connsiteY42" fmla="*/ 13495 h 2143307"/>
              <a:gd name="connsiteX43" fmla="*/ 521532 w 1152676"/>
              <a:gd name="connsiteY43" fmla="*/ 13495 h 2143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152676" h="2143307">
                <a:moveTo>
                  <a:pt x="521532" y="13495"/>
                </a:moveTo>
                <a:cubicBezTo>
                  <a:pt x="524171" y="-6094"/>
                  <a:pt x="551540" y="-7900"/>
                  <a:pt x="556541" y="32111"/>
                </a:cubicBezTo>
                <a:cubicBezTo>
                  <a:pt x="581687" y="234945"/>
                  <a:pt x="582104" y="210077"/>
                  <a:pt x="626561" y="345669"/>
                </a:cubicBezTo>
                <a:cubicBezTo>
                  <a:pt x="665321" y="481818"/>
                  <a:pt x="764376" y="579761"/>
                  <a:pt x="836896" y="698266"/>
                </a:cubicBezTo>
                <a:cubicBezTo>
                  <a:pt x="826198" y="703406"/>
                  <a:pt x="728532" y="645474"/>
                  <a:pt x="717418" y="650058"/>
                </a:cubicBezTo>
                <a:cubicBezTo>
                  <a:pt x="733395" y="686318"/>
                  <a:pt x="837173" y="784539"/>
                  <a:pt x="855651" y="819271"/>
                </a:cubicBezTo>
                <a:cubicBezTo>
                  <a:pt x="843009" y="826218"/>
                  <a:pt x="775629" y="814270"/>
                  <a:pt x="762431" y="820383"/>
                </a:cubicBezTo>
                <a:cubicBezTo>
                  <a:pt x="778825" y="848863"/>
                  <a:pt x="850789" y="895264"/>
                  <a:pt x="869683" y="922633"/>
                </a:cubicBezTo>
                <a:cubicBezTo>
                  <a:pt x="851205" y="930413"/>
                  <a:pt x="771878" y="902766"/>
                  <a:pt x="752428" y="909296"/>
                </a:cubicBezTo>
                <a:cubicBezTo>
                  <a:pt x="781186" y="958615"/>
                  <a:pt x="873850" y="1041415"/>
                  <a:pt x="910110" y="1087817"/>
                </a:cubicBezTo>
                <a:cubicBezTo>
                  <a:pt x="888021" y="1096014"/>
                  <a:pt x="764654" y="1068645"/>
                  <a:pt x="741453" y="1075452"/>
                </a:cubicBezTo>
                <a:cubicBezTo>
                  <a:pt x="773545" y="1124494"/>
                  <a:pt x="910249" y="1207016"/>
                  <a:pt x="950538" y="1253001"/>
                </a:cubicBezTo>
                <a:cubicBezTo>
                  <a:pt x="924975" y="1261476"/>
                  <a:pt x="850093" y="1250639"/>
                  <a:pt x="823003" y="1257586"/>
                </a:cubicBezTo>
                <a:cubicBezTo>
                  <a:pt x="858430" y="1306349"/>
                  <a:pt x="946371" y="1372339"/>
                  <a:pt x="990966" y="1418046"/>
                </a:cubicBezTo>
                <a:cubicBezTo>
                  <a:pt x="961791" y="1426799"/>
                  <a:pt x="897329" y="1420825"/>
                  <a:pt x="866488" y="1427910"/>
                </a:cubicBezTo>
                <a:cubicBezTo>
                  <a:pt x="905248" y="1476535"/>
                  <a:pt x="982769" y="1537662"/>
                  <a:pt x="1031394" y="1583230"/>
                </a:cubicBezTo>
                <a:cubicBezTo>
                  <a:pt x="998606" y="1592260"/>
                  <a:pt x="880102" y="1558501"/>
                  <a:pt x="845231" y="1565726"/>
                </a:cubicBezTo>
                <a:cubicBezTo>
                  <a:pt x="887327" y="1614072"/>
                  <a:pt x="1018890" y="1702985"/>
                  <a:pt x="1071821" y="1748276"/>
                </a:cubicBezTo>
                <a:cubicBezTo>
                  <a:pt x="1035422" y="1757445"/>
                  <a:pt x="937340" y="1740079"/>
                  <a:pt x="898718" y="1747442"/>
                </a:cubicBezTo>
                <a:cubicBezTo>
                  <a:pt x="944147" y="1795649"/>
                  <a:pt x="1055289" y="1868169"/>
                  <a:pt x="1112249" y="1913321"/>
                </a:cubicBezTo>
                <a:cubicBezTo>
                  <a:pt x="1072238" y="1922629"/>
                  <a:pt x="1030837" y="1930964"/>
                  <a:pt x="988465" y="1938327"/>
                </a:cubicBezTo>
                <a:cubicBezTo>
                  <a:pt x="1037228" y="1986396"/>
                  <a:pt x="1091549" y="2033215"/>
                  <a:pt x="1152677" y="2078366"/>
                </a:cubicBezTo>
                <a:cubicBezTo>
                  <a:pt x="812445" y="2151719"/>
                  <a:pt x="380660" y="2166862"/>
                  <a:pt x="0" y="2103512"/>
                </a:cubicBezTo>
                <a:cubicBezTo>
                  <a:pt x="50152" y="2054332"/>
                  <a:pt x="95165" y="2004179"/>
                  <a:pt x="136010" y="1953470"/>
                </a:cubicBezTo>
                <a:cubicBezTo>
                  <a:pt x="103917" y="1949025"/>
                  <a:pt x="71964" y="1944024"/>
                  <a:pt x="40428" y="1938467"/>
                </a:cubicBezTo>
                <a:cubicBezTo>
                  <a:pt x="87107" y="1889147"/>
                  <a:pt x="129063" y="1838856"/>
                  <a:pt x="167129" y="1788147"/>
                </a:cubicBezTo>
                <a:cubicBezTo>
                  <a:pt x="138093" y="1783841"/>
                  <a:pt x="109335" y="1778978"/>
                  <a:pt x="80856" y="1773421"/>
                </a:cubicBezTo>
                <a:cubicBezTo>
                  <a:pt x="124062" y="1723963"/>
                  <a:pt x="162961" y="1673672"/>
                  <a:pt x="198249" y="1622685"/>
                </a:cubicBezTo>
                <a:cubicBezTo>
                  <a:pt x="172408" y="1618518"/>
                  <a:pt x="146707" y="1613655"/>
                  <a:pt x="121283" y="1608376"/>
                </a:cubicBezTo>
                <a:cubicBezTo>
                  <a:pt x="161155" y="1558779"/>
                  <a:pt x="196998" y="1508349"/>
                  <a:pt x="229368" y="1457223"/>
                </a:cubicBezTo>
                <a:cubicBezTo>
                  <a:pt x="206584" y="1453056"/>
                  <a:pt x="184078" y="1448471"/>
                  <a:pt x="161711" y="1443331"/>
                </a:cubicBezTo>
                <a:cubicBezTo>
                  <a:pt x="198110" y="1393595"/>
                  <a:pt x="263128" y="1312740"/>
                  <a:pt x="292719" y="1261476"/>
                </a:cubicBezTo>
                <a:cubicBezTo>
                  <a:pt x="273130" y="1257447"/>
                  <a:pt x="221310" y="1283148"/>
                  <a:pt x="202139" y="1278286"/>
                </a:cubicBezTo>
                <a:cubicBezTo>
                  <a:pt x="235203" y="1228272"/>
                  <a:pt x="297026" y="1149500"/>
                  <a:pt x="323839" y="1098098"/>
                </a:cubicBezTo>
                <a:cubicBezTo>
                  <a:pt x="307306" y="1094346"/>
                  <a:pt x="258682" y="1117964"/>
                  <a:pt x="242566" y="1113241"/>
                </a:cubicBezTo>
                <a:cubicBezTo>
                  <a:pt x="272158" y="1062949"/>
                  <a:pt x="347178" y="981538"/>
                  <a:pt x="371213" y="929857"/>
                </a:cubicBezTo>
                <a:cubicBezTo>
                  <a:pt x="357876" y="926245"/>
                  <a:pt x="296192" y="952502"/>
                  <a:pt x="282994" y="948195"/>
                </a:cubicBezTo>
                <a:cubicBezTo>
                  <a:pt x="297720" y="919715"/>
                  <a:pt x="380104" y="839832"/>
                  <a:pt x="393302" y="810797"/>
                </a:cubicBezTo>
                <a:cubicBezTo>
                  <a:pt x="383994" y="807323"/>
                  <a:pt x="306195" y="854836"/>
                  <a:pt x="297026" y="850947"/>
                </a:cubicBezTo>
                <a:cubicBezTo>
                  <a:pt x="312586" y="811908"/>
                  <a:pt x="359404" y="746751"/>
                  <a:pt x="373019" y="707018"/>
                </a:cubicBezTo>
                <a:cubicBezTo>
                  <a:pt x="364683" y="704379"/>
                  <a:pt x="324116" y="727024"/>
                  <a:pt x="315781" y="723967"/>
                </a:cubicBezTo>
                <a:cubicBezTo>
                  <a:pt x="368295" y="609908"/>
                  <a:pt x="427339" y="502796"/>
                  <a:pt x="459848" y="382485"/>
                </a:cubicBezTo>
                <a:cubicBezTo>
                  <a:pt x="516113" y="129638"/>
                  <a:pt x="486522" y="258145"/>
                  <a:pt x="521532" y="13495"/>
                </a:cubicBezTo>
                <a:lnTo>
                  <a:pt x="521532" y="13495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F536538E-F11F-F0B5-1604-999B2F6716C4}"/>
              </a:ext>
            </a:extLst>
          </p:cNvPr>
          <p:cNvSpPr/>
          <p:nvPr/>
        </p:nvSpPr>
        <p:spPr>
          <a:xfrm>
            <a:off x="9085214" y="4646990"/>
            <a:ext cx="1333282" cy="2479128"/>
          </a:xfrm>
          <a:custGeom>
            <a:avLst/>
            <a:gdLst>
              <a:gd name="connsiteX0" fmla="*/ 603221 w 1333282"/>
              <a:gd name="connsiteY0" fmla="*/ 15598 h 2479128"/>
              <a:gd name="connsiteX1" fmla="*/ 643649 w 1333282"/>
              <a:gd name="connsiteY1" fmla="*/ 37132 h 2479128"/>
              <a:gd name="connsiteX2" fmla="*/ 724643 w 1333282"/>
              <a:gd name="connsiteY2" fmla="*/ 399870 h 2479128"/>
              <a:gd name="connsiteX3" fmla="*/ 967904 w 1333282"/>
              <a:gd name="connsiteY3" fmla="*/ 807760 h 2479128"/>
              <a:gd name="connsiteX4" fmla="*/ 829672 w 1333282"/>
              <a:gd name="connsiteY4" fmla="*/ 752050 h 2479128"/>
              <a:gd name="connsiteX5" fmla="*/ 989577 w 1333282"/>
              <a:gd name="connsiteY5" fmla="*/ 947798 h 2479128"/>
              <a:gd name="connsiteX6" fmla="*/ 881770 w 1333282"/>
              <a:gd name="connsiteY6" fmla="*/ 949048 h 2479128"/>
              <a:gd name="connsiteX7" fmla="*/ 1005831 w 1333282"/>
              <a:gd name="connsiteY7" fmla="*/ 1067275 h 2479128"/>
              <a:gd name="connsiteX8" fmla="*/ 870238 w 1333282"/>
              <a:gd name="connsiteY8" fmla="*/ 1051854 h 2479128"/>
              <a:gd name="connsiteX9" fmla="*/ 1052650 w 1333282"/>
              <a:gd name="connsiteY9" fmla="*/ 1258300 h 2479128"/>
              <a:gd name="connsiteX10" fmla="*/ 857457 w 1333282"/>
              <a:gd name="connsiteY10" fmla="*/ 1243990 h 2479128"/>
              <a:gd name="connsiteX11" fmla="*/ 1099329 w 1333282"/>
              <a:gd name="connsiteY11" fmla="*/ 1449324 h 2479128"/>
              <a:gd name="connsiteX12" fmla="*/ 951928 w 1333282"/>
              <a:gd name="connsiteY12" fmla="*/ 1454603 h 2479128"/>
              <a:gd name="connsiteX13" fmla="*/ 1146147 w 1333282"/>
              <a:gd name="connsiteY13" fmla="*/ 1640210 h 2479128"/>
              <a:gd name="connsiteX14" fmla="*/ 1002080 w 1333282"/>
              <a:gd name="connsiteY14" fmla="*/ 1651602 h 2479128"/>
              <a:gd name="connsiteX15" fmla="*/ 1192827 w 1333282"/>
              <a:gd name="connsiteY15" fmla="*/ 1831234 h 2479128"/>
              <a:gd name="connsiteX16" fmla="*/ 977629 w 1333282"/>
              <a:gd name="connsiteY16" fmla="*/ 1810951 h 2479128"/>
              <a:gd name="connsiteX17" fmla="*/ 1239646 w 1333282"/>
              <a:gd name="connsiteY17" fmla="*/ 2022120 h 2479128"/>
              <a:gd name="connsiteX18" fmla="*/ 1039451 w 1333282"/>
              <a:gd name="connsiteY18" fmla="*/ 2021147 h 2479128"/>
              <a:gd name="connsiteX19" fmla="*/ 1286464 w 1333282"/>
              <a:gd name="connsiteY19" fmla="*/ 2213144 h 2479128"/>
              <a:gd name="connsiteX20" fmla="*/ 1143230 w 1333282"/>
              <a:gd name="connsiteY20" fmla="*/ 2242041 h 2479128"/>
              <a:gd name="connsiteX21" fmla="*/ 1333282 w 1333282"/>
              <a:gd name="connsiteY21" fmla="*/ 2404030 h 2479128"/>
              <a:gd name="connsiteX22" fmla="*/ 0 w 1333282"/>
              <a:gd name="connsiteY22" fmla="*/ 2433205 h 2479128"/>
              <a:gd name="connsiteX23" fmla="*/ 157265 w 1333282"/>
              <a:gd name="connsiteY23" fmla="*/ 2259685 h 2479128"/>
              <a:gd name="connsiteX24" fmla="*/ 46680 w 1333282"/>
              <a:gd name="connsiteY24" fmla="*/ 2242319 h 2479128"/>
              <a:gd name="connsiteX25" fmla="*/ 193248 w 1333282"/>
              <a:gd name="connsiteY25" fmla="*/ 2068383 h 2479128"/>
              <a:gd name="connsiteX26" fmla="*/ 93498 w 1333282"/>
              <a:gd name="connsiteY26" fmla="*/ 2051294 h 2479128"/>
              <a:gd name="connsiteX27" fmla="*/ 229229 w 1333282"/>
              <a:gd name="connsiteY27" fmla="*/ 1876941 h 2479128"/>
              <a:gd name="connsiteX28" fmla="*/ 140178 w 1333282"/>
              <a:gd name="connsiteY28" fmla="*/ 1860409 h 2479128"/>
              <a:gd name="connsiteX29" fmla="*/ 265212 w 1333282"/>
              <a:gd name="connsiteY29" fmla="*/ 1685639 h 2479128"/>
              <a:gd name="connsiteX30" fmla="*/ 186996 w 1333282"/>
              <a:gd name="connsiteY30" fmla="*/ 1669523 h 2479128"/>
              <a:gd name="connsiteX31" fmla="*/ 338565 w 1333282"/>
              <a:gd name="connsiteY31" fmla="*/ 1459188 h 2479128"/>
              <a:gd name="connsiteX32" fmla="*/ 233814 w 1333282"/>
              <a:gd name="connsiteY32" fmla="*/ 1478638 h 2479128"/>
              <a:gd name="connsiteX33" fmla="*/ 374686 w 1333282"/>
              <a:gd name="connsiteY33" fmla="*/ 1270108 h 2479128"/>
              <a:gd name="connsiteX34" fmla="*/ 280633 w 1333282"/>
              <a:gd name="connsiteY34" fmla="*/ 1287613 h 2479128"/>
              <a:gd name="connsiteX35" fmla="*/ 429424 w 1333282"/>
              <a:gd name="connsiteY35" fmla="*/ 1075472 h 2479128"/>
              <a:gd name="connsiteX36" fmla="*/ 327451 w 1333282"/>
              <a:gd name="connsiteY36" fmla="*/ 1096728 h 2479128"/>
              <a:gd name="connsiteX37" fmla="*/ 454986 w 1333282"/>
              <a:gd name="connsiteY37" fmla="*/ 937795 h 2479128"/>
              <a:gd name="connsiteX38" fmla="*/ 343706 w 1333282"/>
              <a:gd name="connsiteY38" fmla="*/ 984197 h 2479128"/>
              <a:gd name="connsiteX39" fmla="*/ 431646 w 1333282"/>
              <a:gd name="connsiteY39" fmla="*/ 817624 h 2479128"/>
              <a:gd name="connsiteX40" fmla="*/ 365517 w 1333282"/>
              <a:gd name="connsiteY40" fmla="*/ 837212 h 2479128"/>
              <a:gd name="connsiteX41" fmla="*/ 532229 w 1333282"/>
              <a:gd name="connsiteY41" fmla="*/ 442243 h 2479128"/>
              <a:gd name="connsiteX42" fmla="*/ 603221 w 1333282"/>
              <a:gd name="connsiteY42" fmla="*/ 15598 h 2479128"/>
              <a:gd name="connsiteX43" fmla="*/ 603221 w 1333282"/>
              <a:gd name="connsiteY43" fmla="*/ 15598 h 2479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333282" h="2479128">
                <a:moveTo>
                  <a:pt x="603221" y="15598"/>
                </a:moveTo>
                <a:cubicBezTo>
                  <a:pt x="606138" y="-7047"/>
                  <a:pt x="637953" y="-9131"/>
                  <a:pt x="643649" y="37132"/>
                </a:cubicBezTo>
                <a:cubicBezTo>
                  <a:pt x="672685" y="271780"/>
                  <a:pt x="673240" y="242883"/>
                  <a:pt x="724643" y="399870"/>
                </a:cubicBezTo>
                <a:cubicBezTo>
                  <a:pt x="769516" y="557413"/>
                  <a:pt x="883992" y="670500"/>
                  <a:pt x="967904" y="807760"/>
                </a:cubicBezTo>
                <a:cubicBezTo>
                  <a:pt x="955540" y="813734"/>
                  <a:pt x="842592" y="746771"/>
                  <a:pt x="829672" y="752050"/>
                </a:cubicBezTo>
                <a:cubicBezTo>
                  <a:pt x="848150" y="794006"/>
                  <a:pt x="968321" y="907509"/>
                  <a:pt x="989577" y="947798"/>
                </a:cubicBezTo>
                <a:cubicBezTo>
                  <a:pt x="974990" y="955856"/>
                  <a:pt x="897051" y="941963"/>
                  <a:pt x="881770" y="949048"/>
                </a:cubicBezTo>
                <a:cubicBezTo>
                  <a:pt x="900803" y="981974"/>
                  <a:pt x="984020" y="1035739"/>
                  <a:pt x="1005831" y="1067275"/>
                </a:cubicBezTo>
                <a:cubicBezTo>
                  <a:pt x="984575" y="1076305"/>
                  <a:pt x="892605" y="1044352"/>
                  <a:pt x="870238" y="1051854"/>
                </a:cubicBezTo>
                <a:cubicBezTo>
                  <a:pt x="903442" y="1108953"/>
                  <a:pt x="1010693" y="1204674"/>
                  <a:pt x="1052650" y="1258300"/>
                </a:cubicBezTo>
                <a:cubicBezTo>
                  <a:pt x="1027226" y="1267747"/>
                  <a:pt x="884409" y="1236210"/>
                  <a:pt x="857457" y="1243990"/>
                </a:cubicBezTo>
                <a:cubicBezTo>
                  <a:pt x="894551" y="1300672"/>
                  <a:pt x="1052650" y="1396115"/>
                  <a:pt x="1099329" y="1449324"/>
                </a:cubicBezTo>
                <a:cubicBezTo>
                  <a:pt x="1069737" y="1459188"/>
                  <a:pt x="983186" y="1446685"/>
                  <a:pt x="951928" y="1454603"/>
                </a:cubicBezTo>
                <a:cubicBezTo>
                  <a:pt x="992911" y="1511008"/>
                  <a:pt x="1094606" y="1587279"/>
                  <a:pt x="1146147" y="1640210"/>
                </a:cubicBezTo>
                <a:cubicBezTo>
                  <a:pt x="1112388" y="1650351"/>
                  <a:pt x="1037923" y="1643405"/>
                  <a:pt x="1002080" y="1651602"/>
                </a:cubicBezTo>
                <a:cubicBezTo>
                  <a:pt x="1046954" y="1707728"/>
                  <a:pt x="1136561" y="1778442"/>
                  <a:pt x="1192827" y="1831234"/>
                </a:cubicBezTo>
                <a:cubicBezTo>
                  <a:pt x="1154900" y="1841654"/>
                  <a:pt x="1017779" y="1802615"/>
                  <a:pt x="977629" y="1810951"/>
                </a:cubicBezTo>
                <a:cubicBezTo>
                  <a:pt x="1026253" y="1866939"/>
                  <a:pt x="1178517" y="1969606"/>
                  <a:pt x="1239646" y="2022120"/>
                </a:cubicBezTo>
                <a:cubicBezTo>
                  <a:pt x="1197550" y="2032678"/>
                  <a:pt x="1084047" y="2012673"/>
                  <a:pt x="1039451" y="2021147"/>
                </a:cubicBezTo>
                <a:cubicBezTo>
                  <a:pt x="1091966" y="2076996"/>
                  <a:pt x="1220613" y="2160769"/>
                  <a:pt x="1286464" y="2213144"/>
                </a:cubicBezTo>
                <a:cubicBezTo>
                  <a:pt x="1240201" y="2223842"/>
                  <a:pt x="1192271" y="2233567"/>
                  <a:pt x="1143230" y="2242041"/>
                </a:cubicBezTo>
                <a:cubicBezTo>
                  <a:pt x="1199634" y="2297751"/>
                  <a:pt x="1262568" y="2351793"/>
                  <a:pt x="1333282" y="2404030"/>
                </a:cubicBezTo>
                <a:cubicBezTo>
                  <a:pt x="939702" y="2488914"/>
                  <a:pt x="440259" y="2506280"/>
                  <a:pt x="0" y="2433205"/>
                </a:cubicBezTo>
                <a:cubicBezTo>
                  <a:pt x="57933" y="2376245"/>
                  <a:pt x="110031" y="2318312"/>
                  <a:pt x="157265" y="2259685"/>
                </a:cubicBezTo>
                <a:cubicBezTo>
                  <a:pt x="120033" y="2254545"/>
                  <a:pt x="83218" y="2248849"/>
                  <a:pt x="46680" y="2242319"/>
                </a:cubicBezTo>
                <a:cubicBezTo>
                  <a:pt x="100722" y="2185220"/>
                  <a:pt x="149208" y="2127149"/>
                  <a:pt x="193248" y="2068383"/>
                </a:cubicBezTo>
                <a:cubicBezTo>
                  <a:pt x="159628" y="2063381"/>
                  <a:pt x="126424" y="2057685"/>
                  <a:pt x="93498" y="2051294"/>
                </a:cubicBezTo>
                <a:cubicBezTo>
                  <a:pt x="143512" y="1994057"/>
                  <a:pt x="188524" y="1935846"/>
                  <a:pt x="229229" y="1876941"/>
                </a:cubicBezTo>
                <a:cubicBezTo>
                  <a:pt x="199222" y="1872079"/>
                  <a:pt x="169630" y="1866522"/>
                  <a:pt x="140178" y="1860409"/>
                </a:cubicBezTo>
                <a:cubicBezTo>
                  <a:pt x="186301" y="1803032"/>
                  <a:pt x="227701" y="1744683"/>
                  <a:pt x="265212" y="1685639"/>
                </a:cubicBezTo>
                <a:cubicBezTo>
                  <a:pt x="238954" y="1680915"/>
                  <a:pt x="212836" y="1675497"/>
                  <a:pt x="186996" y="1669523"/>
                </a:cubicBezTo>
                <a:cubicBezTo>
                  <a:pt x="229091" y="1612008"/>
                  <a:pt x="304250" y="1518510"/>
                  <a:pt x="338565" y="1459188"/>
                </a:cubicBezTo>
                <a:cubicBezTo>
                  <a:pt x="315921" y="1454603"/>
                  <a:pt x="256043" y="1484334"/>
                  <a:pt x="233814" y="1478638"/>
                </a:cubicBezTo>
                <a:cubicBezTo>
                  <a:pt x="272019" y="1420844"/>
                  <a:pt x="343567" y="1329708"/>
                  <a:pt x="374686" y="1270108"/>
                </a:cubicBezTo>
                <a:cubicBezTo>
                  <a:pt x="355653" y="1265663"/>
                  <a:pt x="299388" y="1293031"/>
                  <a:pt x="280633" y="1287613"/>
                </a:cubicBezTo>
                <a:cubicBezTo>
                  <a:pt x="314948" y="1229403"/>
                  <a:pt x="401638" y="1135349"/>
                  <a:pt x="429424" y="1075472"/>
                </a:cubicBezTo>
                <a:cubicBezTo>
                  <a:pt x="414003" y="1071304"/>
                  <a:pt x="342594" y="1101729"/>
                  <a:pt x="327451" y="1096728"/>
                </a:cubicBezTo>
                <a:cubicBezTo>
                  <a:pt x="344539" y="1063802"/>
                  <a:pt x="439843" y="971416"/>
                  <a:pt x="454986" y="937795"/>
                </a:cubicBezTo>
                <a:cubicBezTo>
                  <a:pt x="444289" y="933766"/>
                  <a:pt x="354264" y="988643"/>
                  <a:pt x="343706" y="984197"/>
                </a:cubicBezTo>
                <a:cubicBezTo>
                  <a:pt x="361627" y="939046"/>
                  <a:pt x="415809" y="863747"/>
                  <a:pt x="431646" y="817624"/>
                </a:cubicBezTo>
                <a:cubicBezTo>
                  <a:pt x="421921" y="814567"/>
                  <a:pt x="374964" y="840685"/>
                  <a:pt x="365517" y="837212"/>
                </a:cubicBezTo>
                <a:cubicBezTo>
                  <a:pt x="426229" y="705371"/>
                  <a:pt x="494580" y="581309"/>
                  <a:pt x="532229" y="442243"/>
                </a:cubicBezTo>
                <a:cubicBezTo>
                  <a:pt x="597108" y="150080"/>
                  <a:pt x="562932" y="298593"/>
                  <a:pt x="603221" y="15598"/>
                </a:cubicBezTo>
                <a:lnTo>
                  <a:pt x="603221" y="15598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A4AAECF1-1987-16E2-2AA4-3A595861E8DA}"/>
              </a:ext>
            </a:extLst>
          </p:cNvPr>
          <p:cNvSpPr/>
          <p:nvPr/>
        </p:nvSpPr>
        <p:spPr>
          <a:xfrm>
            <a:off x="7902252" y="5903145"/>
            <a:ext cx="733811" cy="1364156"/>
          </a:xfrm>
          <a:custGeom>
            <a:avLst/>
            <a:gdLst>
              <a:gd name="connsiteX0" fmla="*/ 332035 w 733811"/>
              <a:gd name="connsiteY0" fmla="*/ 8607 h 1364156"/>
              <a:gd name="connsiteX1" fmla="*/ 354264 w 733811"/>
              <a:gd name="connsiteY1" fmla="*/ 20415 h 1364156"/>
              <a:gd name="connsiteX2" fmla="*/ 398859 w 733811"/>
              <a:gd name="connsiteY2" fmla="*/ 220053 h 1364156"/>
              <a:gd name="connsiteX3" fmla="*/ 532784 w 733811"/>
              <a:gd name="connsiteY3" fmla="*/ 444559 h 1364156"/>
              <a:gd name="connsiteX4" fmla="*/ 456791 w 733811"/>
              <a:gd name="connsiteY4" fmla="*/ 413856 h 1364156"/>
              <a:gd name="connsiteX5" fmla="*/ 544732 w 733811"/>
              <a:gd name="connsiteY5" fmla="*/ 521525 h 1364156"/>
              <a:gd name="connsiteX6" fmla="*/ 485410 w 733811"/>
              <a:gd name="connsiteY6" fmla="*/ 522220 h 1364156"/>
              <a:gd name="connsiteX7" fmla="*/ 553623 w 733811"/>
              <a:gd name="connsiteY7" fmla="*/ 587237 h 1364156"/>
              <a:gd name="connsiteX8" fmla="*/ 479020 w 733811"/>
              <a:gd name="connsiteY8" fmla="*/ 578763 h 1364156"/>
              <a:gd name="connsiteX9" fmla="*/ 579464 w 733811"/>
              <a:gd name="connsiteY9" fmla="*/ 692405 h 1364156"/>
              <a:gd name="connsiteX10" fmla="*/ 472073 w 733811"/>
              <a:gd name="connsiteY10" fmla="*/ 684486 h 1364156"/>
              <a:gd name="connsiteX11" fmla="*/ 605166 w 733811"/>
              <a:gd name="connsiteY11" fmla="*/ 797434 h 1364156"/>
              <a:gd name="connsiteX12" fmla="*/ 524032 w 733811"/>
              <a:gd name="connsiteY12" fmla="*/ 800351 h 1364156"/>
              <a:gd name="connsiteX13" fmla="*/ 630867 w 733811"/>
              <a:gd name="connsiteY13" fmla="*/ 902462 h 1364156"/>
              <a:gd name="connsiteX14" fmla="*/ 551540 w 733811"/>
              <a:gd name="connsiteY14" fmla="*/ 908714 h 1364156"/>
              <a:gd name="connsiteX15" fmla="*/ 656568 w 733811"/>
              <a:gd name="connsiteY15" fmla="*/ 1007491 h 1364156"/>
              <a:gd name="connsiteX16" fmla="*/ 538064 w 733811"/>
              <a:gd name="connsiteY16" fmla="*/ 996377 h 1364156"/>
              <a:gd name="connsiteX17" fmla="*/ 682270 w 733811"/>
              <a:gd name="connsiteY17" fmla="*/ 1112659 h 1364156"/>
              <a:gd name="connsiteX18" fmla="*/ 572101 w 733811"/>
              <a:gd name="connsiteY18" fmla="*/ 1112103 h 1364156"/>
              <a:gd name="connsiteX19" fmla="*/ 708110 w 733811"/>
              <a:gd name="connsiteY19" fmla="*/ 1217688 h 1364156"/>
              <a:gd name="connsiteX20" fmla="*/ 629200 w 733811"/>
              <a:gd name="connsiteY20" fmla="*/ 1233664 h 1364156"/>
              <a:gd name="connsiteX21" fmla="*/ 733812 w 733811"/>
              <a:gd name="connsiteY21" fmla="*/ 1322855 h 1364156"/>
              <a:gd name="connsiteX22" fmla="*/ 0 w 733811"/>
              <a:gd name="connsiteY22" fmla="*/ 1338832 h 1364156"/>
              <a:gd name="connsiteX23" fmla="*/ 86551 w 733811"/>
              <a:gd name="connsiteY23" fmla="*/ 1243250 h 1364156"/>
              <a:gd name="connsiteX24" fmla="*/ 25701 w 733811"/>
              <a:gd name="connsiteY24" fmla="*/ 1233664 h 1364156"/>
              <a:gd name="connsiteX25" fmla="*/ 106279 w 733811"/>
              <a:gd name="connsiteY25" fmla="*/ 1137944 h 1364156"/>
              <a:gd name="connsiteX26" fmla="*/ 51403 w 733811"/>
              <a:gd name="connsiteY26" fmla="*/ 1128635 h 1364156"/>
              <a:gd name="connsiteX27" fmla="*/ 126145 w 733811"/>
              <a:gd name="connsiteY27" fmla="*/ 1032637 h 1364156"/>
              <a:gd name="connsiteX28" fmla="*/ 77104 w 733811"/>
              <a:gd name="connsiteY28" fmla="*/ 1023468 h 1364156"/>
              <a:gd name="connsiteX29" fmla="*/ 145873 w 733811"/>
              <a:gd name="connsiteY29" fmla="*/ 927191 h 1364156"/>
              <a:gd name="connsiteX30" fmla="*/ 102806 w 733811"/>
              <a:gd name="connsiteY30" fmla="*/ 918300 h 1364156"/>
              <a:gd name="connsiteX31" fmla="*/ 186162 w 733811"/>
              <a:gd name="connsiteY31" fmla="*/ 802574 h 1364156"/>
              <a:gd name="connsiteX32" fmla="*/ 128507 w 733811"/>
              <a:gd name="connsiteY32" fmla="*/ 813271 h 1364156"/>
              <a:gd name="connsiteX33" fmla="*/ 206028 w 733811"/>
              <a:gd name="connsiteY33" fmla="*/ 698518 h 1364156"/>
              <a:gd name="connsiteX34" fmla="*/ 154209 w 733811"/>
              <a:gd name="connsiteY34" fmla="*/ 708243 h 1364156"/>
              <a:gd name="connsiteX35" fmla="*/ 236037 w 733811"/>
              <a:gd name="connsiteY35" fmla="*/ 591405 h 1364156"/>
              <a:gd name="connsiteX36" fmla="*/ 179910 w 733811"/>
              <a:gd name="connsiteY36" fmla="*/ 603075 h 1364156"/>
              <a:gd name="connsiteX37" fmla="*/ 250068 w 733811"/>
              <a:gd name="connsiteY37" fmla="*/ 515690 h 1364156"/>
              <a:gd name="connsiteX38" fmla="*/ 188802 w 733811"/>
              <a:gd name="connsiteY38" fmla="*/ 541252 h 1364156"/>
              <a:gd name="connsiteX39" fmla="*/ 237148 w 733811"/>
              <a:gd name="connsiteY39" fmla="*/ 449561 h 1364156"/>
              <a:gd name="connsiteX40" fmla="*/ 200749 w 733811"/>
              <a:gd name="connsiteY40" fmla="*/ 460397 h 1364156"/>
              <a:gd name="connsiteX41" fmla="*/ 292441 w 733811"/>
              <a:gd name="connsiteY41" fmla="*/ 242976 h 1364156"/>
              <a:gd name="connsiteX42" fmla="*/ 332035 w 733811"/>
              <a:gd name="connsiteY42" fmla="*/ 8607 h 1364156"/>
              <a:gd name="connsiteX43" fmla="*/ 332035 w 733811"/>
              <a:gd name="connsiteY43" fmla="*/ 8607 h 1364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33811" h="1364156">
                <a:moveTo>
                  <a:pt x="332035" y="8607"/>
                </a:moveTo>
                <a:cubicBezTo>
                  <a:pt x="333702" y="-3897"/>
                  <a:pt x="351207" y="-5008"/>
                  <a:pt x="354264" y="20415"/>
                </a:cubicBezTo>
                <a:cubicBezTo>
                  <a:pt x="370240" y="149618"/>
                  <a:pt x="370518" y="133641"/>
                  <a:pt x="398859" y="220053"/>
                </a:cubicBezTo>
                <a:cubicBezTo>
                  <a:pt x="423588" y="306744"/>
                  <a:pt x="486522" y="368983"/>
                  <a:pt x="532784" y="444559"/>
                </a:cubicBezTo>
                <a:cubicBezTo>
                  <a:pt x="525977" y="447755"/>
                  <a:pt x="463877" y="410939"/>
                  <a:pt x="456791" y="413856"/>
                </a:cubicBezTo>
                <a:cubicBezTo>
                  <a:pt x="466933" y="436918"/>
                  <a:pt x="533063" y="499435"/>
                  <a:pt x="544732" y="521525"/>
                </a:cubicBezTo>
                <a:cubicBezTo>
                  <a:pt x="536674" y="525971"/>
                  <a:pt x="493746" y="518330"/>
                  <a:pt x="485410" y="522220"/>
                </a:cubicBezTo>
                <a:cubicBezTo>
                  <a:pt x="495830" y="540280"/>
                  <a:pt x="541676" y="569871"/>
                  <a:pt x="553623" y="587237"/>
                </a:cubicBezTo>
                <a:cubicBezTo>
                  <a:pt x="541954" y="592239"/>
                  <a:pt x="491384" y="574595"/>
                  <a:pt x="479020" y="578763"/>
                </a:cubicBezTo>
                <a:cubicBezTo>
                  <a:pt x="497358" y="610160"/>
                  <a:pt x="556263" y="662953"/>
                  <a:pt x="579464" y="692405"/>
                </a:cubicBezTo>
                <a:cubicBezTo>
                  <a:pt x="565432" y="697684"/>
                  <a:pt x="486800" y="680179"/>
                  <a:pt x="472073" y="684486"/>
                </a:cubicBezTo>
                <a:cubicBezTo>
                  <a:pt x="492496" y="715745"/>
                  <a:pt x="579464" y="768259"/>
                  <a:pt x="605166" y="797434"/>
                </a:cubicBezTo>
                <a:cubicBezTo>
                  <a:pt x="588911" y="802852"/>
                  <a:pt x="541259" y="795905"/>
                  <a:pt x="524032" y="800351"/>
                </a:cubicBezTo>
                <a:cubicBezTo>
                  <a:pt x="546538" y="831471"/>
                  <a:pt x="602526" y="873427"/>
                  <a:pt x="630867" y="902462"/>
                </a:cubicBezTo>
                <a:cubicBezTo>
                  <a:pt x="612251" y="908020"/>
                  <a:pt x="571267" y="904269"/>
                  <a:pt x="551540" y="908714"/>
                </a:cubicBezTo>
                <a:cubicBezTo>
                  <a:pt x="576130" y="939695"/>
                  <a:pt x="625588" y="978595"/>
                  <a:pt x="656568" y="1007491"/>
                </a:cubicBezTo>
                <a:cubicBezTo>
                  <a:pt x="635729" y="1013187"/>
                  <a:pt x="560292" y="991793"/>
                  <a:pt x="538064" y="996377"/>
                </a:cubicBezTo>
                <a:cubicBezTo>
                  <a:pt x="564876" y="1027219"/>
                  <a:pt x="648649" y="1083762"/>
                  <a:pt x="682270" y="1112659"/>
                </a:cubicBezTo>
                <a:cubicBezTo>
                  <a:pt x="659069" y="1118494"/>
                  <a:pt x="596691" y="1107519"/>
                  <a:pt x="572101" y="1112103"/>
                </a:cubicBezTo>
                <a:cubicBezTo>
                  <a:pt x="600998" y="1142806"/>
                  <a:pt x="671711" y="1188930"/>
                  <a:pt x="708110" y="1217688"/>
                </a:cubicBezTo>
                <a:cubicBezTo>
                  <a:pt x="682687" y="1223662"/>
                  <a:pt x="656291" y="1228941"/>
                  <a:pt x="629200" y="1233664"/>
                </a:cubicBezTo>
                <a:cubicBezTo>
                  <a:pt x="660181" y="1264228"/>
                  <a:pt x="694912" y="1294097"/>
                  <a:pt x="733812" y="1322855"/>
                </a:cubicBezTo>
                <a:cubicBezTo>
                  <a:pt x="517225" y="1369535"/>
                  <a:pt x="242288" y="1379121"/>
                  <a:pt x="0" y="1338832"/>
                </a:cubicBezTo>
                <a:cubicBezTo>
                  <a:pt x="31953" y="1307435"/>
                  <a:pt x="60572" y="1275620"/>
                  <a:pt x="86551" y="1243250"/>
                </a:cubicBezTo>
                <a:cubicBezTo>
                  <a:pt x="66129" y="1240472"/>
                  <a:pt x="45846" y="1237276"/>
                  <a:pt x="25701" y="1233664"/>
                </a:cubicBezTo>
                <a:cubicBezTo>
                  <a:pt x="55432" y="1202267"/>
                  <a:pt x="82105" y="1170314"/>
                  <a:pt x="106279" y="1137944"/>
                </a:cubicBezTo>
                <a:cubicBezTo>
                  <a:pt x="87801" y="1135165"/>
                  <a:pt x="69463" y="1132109"/>
                  <a:pt x="51403" y="1128635"/>
                </a:cubicBezTo>
                <a:cubicBezTo>
                  <a:pt x="78910" y="1097099"/>
                  <a:pt x="103639" y="1065146"/>
                  <a:pt x="126145" y="1032637"/>
                </a:cubicBezTo>
                <a:cubicBezTo>
                  <a:pt x="109613" y="1029997"/>
                  <a:pt x="93358" y="1026941"/>
                  <a:pt x="77104" y="1023468"/>
                </a:cubicBezTo>
                <a:cubicBezTo>
                  <a:pt x="102528" y="991931"/>
                  <a:pt x="125312" y="959700"/>
                  <a:pt x="145873" y="927191"/>
                </a:cubicBezTo>
                <a:cubicBezTo>
                  <a:pt x="131425" y="924552"/>
                  <a:pt x="116976" y="921634"/>
                  <a:pt x="102806" y="918300"/>
                </a:cubicBezTo>
                <a:cubicBezTo>
                  <a:pt x="126006" y="886625"/>
                  <a:pt x="167407" y="835222"/>
                  <a:pt x="186162" y="802574"/>
                </a:cubicBezTo>
                <a:cubicBezTo>
                  <a:pt x="173659" y="800073"/>
                  <a:pt x="140733" y="816467"/>
                  <a:pt x="128507" y="813271"/>
                </a:cubicBezTo>
                <a:cubicBezTo>
                  <a:pt x="149485" y="781457"/>
                  <a:pt x="188940" y="731305"/>
                  <a:pt x="206028" y="698518"/>
                </a:cubicBezTo>
                <a:cubicBezTo>
                  <a:pt x="195470" y="696156"/>
                  <a:pt x="164628" y="711160"/>
                  <a:pt x="154209" y="708243"/>
                </a:cubicBezTo>
                <a:cubicBezTo>
                  <a:pt x="173103" y="676289"/>
                  <a:pt x="220755" y="624470"/>
                  <a:pt x="236037" y="591405"/>
                </a:cubicBezTo>
                <a:cubicBezTo>
                  <a:pt x="227562" y="589182"/>
                  <a:pt x="188246" y="605854"/>
                  <a:pt x="179910" y="603075"/>
                </a:cubicBezTo>
                <a:cubicBezTo>
                  <a:pt x="189357" y="584875"/>
                  <a:pt x="241733" y="534167"/>
                  <a:pt x="250068" y="515690"/>
                </a:cubicBezTo>
                <a:cubicBezTo>
                  <a:pt x="244094" y="513467"/>
                  <a:pt x="194636" y="543753"/>
                  <a:pt x="188802" y="541252"/>
                </a:cubicBezTo>
                <a:cubicBezTo>
                  <a:pt x="198665" y="516385"/>
                  <a:pt x="228535" y="474984"/>
                  <a:pt x="237148" y="449561"/>
                </a:cubicBezTo>
                <a:cubicBezTo>
                  <a:pt x="231869" y="447894"/>
                  <a:pt x="206028" y="462342"/>
                  <a:pt x="200749" y="460397"/>
                </a:cubicBezTo>
                <a:cubicBezTo>
                  <a:pt x="234092" y="387738"/>
                  <a:pt x="271741" y="319525"/>
                  <a:pt x="292441" y="242976"/>
                </a:cubicBezTo>
                <a:cubicBezTo>
                  <a:pt x="328562" y="82655"/>
                  <a:pt x="309807" y="164344"/>
                  <a:pt x="332035" y="8607"/>
                </a:cubicBezTo>
                <a:lnTo>
                  <a:pt x="332035" y="8607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0DC523E6-D221-6CE6-6A31-2365B0164E15}"/>
              </a:ext>
            </a:extLst>
          </p:cNvPr>
          <p:cNvSpPr/>
          <p:nvPr/>
        </p:nvSpPr>
        <p:spPr>
          <a:xfrm>
            <a:off x="7739708" y="6228653"/>
            <a:ext cx="368434" cy="684856"/>
          </a:xfrm>
          <a:custGeom>
            <a:avLst/>
            <a:gdLst>
              <a:gd name="connsiteX0" fmla="*/ 166712 w 368434"/>
              <a:gd name="connsiteY0" fmla="*/ 4298 h 684856"/>
              <a:gd name="connsiteX1" fmla="*/ 177826 w 368434"/>
              <a:gd name="connsiteY1" fmla="*/ 10272 h 684856"/>
              <a:gd name="connsiteX2" fmla="*/ 200194 w 368434"/>
              <a:gd name="connsiteY2" fmla="*/ 110438 h 684856"/>
              <a:gd name="connsiteX3" fmla="*/ 267434 w 368434"/>
              <a:gd name="connsiteY3" fmla="*/ 223108 h 684856"/>
              <a:gd name="connsiteX4" fmla="*/ 229229 w 368434"/>
              <a:gd name="connsiteY4" fmla="*/ 207687 h 684856"/>
              <a:gd name="connsiteX5" fmla="*/ 273408 w 368434"/>
              <a:gd name="connsiteY5" fmla="*/ 261729 h 684856"/>
              <a:gd name="connsiteX6" fmla="*/ 243678 w 368434"/>
              <a:gd name="connsiteY6" fmla="*/ 262146 h 684856"/>
              <a:gd name="connsiteX7" fmla="*/ 277993 w 368434"/>
              <a:gd name="connsiteY7" fmla="*/ 294794 h 684856"/>
              <a:gd name="connsiteX8" fmla="*/ 240482 w 368434"/>
              <a:gd name="connsiteY8" fmla="*/ 290487 h 684856"/>
              <a:gd name="connsiteX9" fmla="*/ 290913 w 368434"/>
              <a:gd name="connsiteY9" fmla="*/ 347586 h 684856"/>
              <a:gd name="connsiteX10" fmla="*/ 237009 w 368434"/>
              <a:gd name="connsiteY10" fmla="*/ 343557 h 684856"/>
              <a:gd name="connsiteX11" fmla="*/ 303833 w 368434"/>
              <a:gd name="connsiteY11" fmla="*/ 400240 h 684856"/>
              <a:gd name="connsiteX12" fmla="*/ 263128 w 368434"/>
              <a:gd name="connsiteY12" fmla="*/ 401629 h 684856"/>
              <a:gd name="connsiteX13" fmla="*/ 316753 w 368434"/>
              <a:gd name="connsiteY13" fmla="*/ 452893 h 684856"/>
              <a:gd name="connsiteX14" fmla="*/ 276881 w 368434"/>
              <a:gd name="connsiteY14" fmla="*/ 456088 h 684856"/>
              <a:gd name="connsiteX15" fmla="*/ 329674 w 368434"/>
              <a:gd name="connsiteY15" fmla="*/ 505685 h 684856"/>
              <a:gd name="connsiteX16" fmla="*/ 270213 w 368434"/>
              <a:gd name="connsiteY16" fmla="*/ 500128 h 684856"/>
              <a:gd name="connsiteX17" fmla="*/ 342594 w 368434"/>
              <a:gd name="connsiteY17" fmla="*/ 558477 h 684856"/>
              <a:gd name="connsiteX18" fmla="*/ 287301 w 368434"/>
              <a:gd name="connsiteY18" fmla="*/ 558200 h 684856"/>
              <a:gd name="connsiteX19" fmla="*/ 355514 w 368434"/>
              <a:gd name="connsiteY19" fmla="*/ 611270 h 684856"/>
              <a:gd name="connsiteX20" fmla="*/ 315920 w 368434"/>
              <a:gd name="connsiteY20" fmla="*/ 619327 h 684856"/>
              <a:gd name="connsiteX21" fmla="*/ 368434 w 368434"/>
              <a:gd name="connsiteY21" fmla="*/ 664062 h 684856"/>
              <a:gd name="connsiteX22" fmla="*/ 0 w 368434"/>
              <a:gd name="connsiteY22" fmla="*/ 672120 h 684856"/>
              <a:gd name="connsiteX23" fmla="*/ 43484 w 368434"/>
              <a:gd name="connsiteY23" fmla="*/ 624190 h 684856"/>
              <a:gd name="connsiteX24" fmla="*/ 12920 w 368434"/>
              <a:gd name="connsiteY24" fmla="*/ 619327 h 684856"/>
              <a:gd name="connsiteX25" fmla="*/ 53348 w 368434"/>
              <a:gd name="connsiteY25" fmla="*/ 571259 h 684856"/>
              <a:gd name="connsiteX26" fmla="*/ 25840 w 368434"/>
              <a:gd name="connsiteY26" fmla="*/ 566535 h 684856"/>
              <a:gd name="connsiteX27" fmla="*/ 63351 w 368434"/>
              <a:gd name="connsiteY27" fmla="*/ 518327 h 684856"/>
              <a:gd name="connsiteX28" fmla="*/ 38761 w 368434"/>
              <a:gd name="connsiteY28" fmla="*/ 513743 h 684856"/>
              <a:gd name="connsiteX29" fmla="*/ 73353 w 368434"/>
              <a:gd name="connsiteY29" fmla="*/ 465396 h 684856"/>
              <a:gd name="connsiteX30" fmla="*/ 51681 w 368434"/>
              <a:gd name="connsiteY30" fmla="*/ 460951 h 684856"/>
              <a:gd name="connsiteX31" fmla="*/ 93637 w 368434"/>
              <a:gd name="connsiteY31" fmla="*/ 402879 h 684856"/>
              <a:gd name="connsiteX32" fmla="*/ 64740 w 368434"/>
              <a:gd name="connsiteY32" fmla="*/ 408297 h 684856"/>
              <a:gd name="connsiteX33" fmla="*/ 103639 w 368434"/>
              <a:gd name="connsiteY33" fmla="*/ 350643 h 684856"/>
              <a:gd name="connsiteX34" fmla="*/ 77660 w 368434"/>
              <a:gd name="connsiteY34" fmla="*/ 355505 h 684856"/>
              <a:gd name="connsiteX35" fmla="*/ 118782 w 368434"/>
              <a:gd name="connsiteY35" fmla="*/ 296878 h 684856"/>
              <a:gd name="connsiteX36" fmla="*/ 90580 w 368434"/>
              <a:gd name="connsiteY36" fmla="*/ 302713 h 684856"/>
              <a:gd name="connsiteX37" fmla="*/ 125868 w 368434"/>
              <a:gd name="connsiteY37" fmla="*/ 258812 h 684856"/>
              <a:gd name="connsiteX38" fmla="*/ 95165 w 368434"/>
              <a:gd name="connsiteY38" fmla="*/ 271593 h 684856"/>
              <a:gd name="connsiteX39" fmla="*/ 119477 w 368434"/>
              <a:gd name="connsiteY39" fmla="*/ 225609 h 684856"/>
              <a:gd name="connsiteX40" fmla="*/ 101139 w 368434"/>
              <a:gd name="connsiteY40" fmla="*/ 231027 h 684856"/>
              <a:gd name="connsiteX41" fmla="*/ 147263 w 368434"/>
              <a:gd name="connsiteY41" fmla="*/ 121830 h 684856"/>
              <a:gd name="connsiteX42" fmla="*/ 166712 w 368434"/>
              <a:gd name="connsiteY42" fmla="*/ 4298 h 684856"/>
              <a:gd name="connsiteX43" fmla="*/ 166712 w 368434"/>
              <a:gd name="connsiteY43" fmla="*/ 4298 h 684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68434" h="684856">
                <a:moveTo>
                  <a:pt x="166712" y="4298"/>
                </a:moveTo>
                <a:cubicBezTo>
                  <a:pt x="167546" y="-1954"/>
                  <a:pt x="176298" y="-2510"/>
                  <a:pt x="177826" y="10272"/>
                </a:cubicBezTo>
                <a:cubicBezTo>
                  <a:pt x="185884" y="75151"/>
                  <a:pt x="186023" y="67093"/>
                  <a:pt x="200194" y="110438"/>
                </a:cubicBezTo>
                <a:cubicBezTo>
                  <a:pt x="212558" y="153922"/>
                  <a:pt x="244233" y="185181"/>
                  <a:pt x="267434" y="223108"/>
                </a:cubicBezTo>
                <a:cubicBezTo>
                  <a:pt x="263961" y="224775"/>
                  <a:pt x="232842" y="206298"/>
                  <a:pt x="229229" y="207687"/>
                </a:cubicBezTo>
                <a:cubicBezTo>
                  <a:pt x="234370" y="219218"/>
                  <a:pt x="267573" y="250615"/>
                  <a:pt x="273408" y="261729"/>
                </a:cubicBezTo>
                <a:cubicBezTo>
                  <a:pt x="269379" y="263952"/>
                  <a:pt x="247846" y="260062"/>
                  <a:pt x="243678" y="262146"/>
                </a:cubicBezTo>
                <a:cubicBezTo>
                  <a:pt x="248957" y="271177"/>
                  <a:pt x="271880" y="286042"/>
                  <a:pt x="277993" y="294794"/>
                </a:cubicBezTo>
                <a:cubicBezTo>
                  <a:pt x="272158" y="297295"/>
                  <a:pt x="246734" y="288404"/>
                  <a:pt x="240482" y="290487"/>
                </a:cubicBezTo>
                <a:cubicBezTo>
                  <a:pt x="249652" y="306325"/>
                  <a:pt x="279243" y="332721"/>
                  <a:pt x="290913" y="347586"/>
                </a:cubicBezTo>
                <a:cubicBezTo>
                  <a:pt x="283828" y="350226"/>
                  <a:pt x="244372" y="341474"/>
                  <a:pt x="237009" y="343557"/>
                </a:cubicBezTo>
                <a:cubicBezTo>
                  <a:pt x="247290" y="359256"/>
                  <a:pt x="290913" y="385652"/>
                  <a:pt x="303833" y="400240"/>
                </a:cubicBezTo>
                <a:cubicBezTo>
                  <a:pt x="295636" y="403018"/>
                  <a:pt x="271741" y="399545"/>
                  <a:pt x="263128" y="401629"/>
                </a:cubicBezTo>
                <a:cubicBezTo>
                  <a:pt x="274381" y="417189"/>
                  <a:pt x="302583" y="438306"/>
                  <a:pt x="316753" y="452893"/>
                </a:cubicBezTo>
                <a:cubicBezTo>
                  <a:pt x="307445" y="455671"/>
                  <a:pt x="286884" y="453727"/>
                  <a:pt x="276881" y="456088"/>
                </a:cubicBezTo>
                <a:cubicBezTo>
                  <a:pt x="289246" y="471648"/>
                  <a:pt x="314114" y="491098"/>
                  <a:pt x="329674" y="505685"/>
                </a:cubicBezTo>
                <a:cubicBezTo>
                  <a:pt x="319254" y="508603"/>
                  <a:pt x="281327" y="497766"/>
                  <a:pt x="270213" y="500128"/>
                </a:cubicBezTo>
                <a:cubicBezTo>
                  <a:pt x="283689" y="515549"/>
                  <a:pt x="325784" y="544029"/>
                  <a:pt x="342594" y="558477"/>
                </a:cubicBezTo>
                <a:cubicBezTo>
                  <a:pt x="330924" y="561395"/>
                  <a:pt x="299665" y="555838"/>
                  <a:pt x="287301" y="558200"/>
                </a:cubicBezTo>
                <a:cubicBezTo>
                  <a:pt x="301749" y="573621"/>
                  <a:pt x="337315" y="596821"/>
                  <a:pt x="355514" y="611270"/>
                </a:cubicBezTo>
                <a:cubicBezTo>
                  <a:pt x="342732" y="614187"/>
                  <a:pt x="329535" y="616966"/>
                  <a:pt x="315920" y="619327"/>
                </a:cubicBezTo>
                <a:cubicBezTo>
                  <a:pt x="331479" y="634748"/>
                  <a:pt x="348845" y="649614"/>
                  <a:pt x="368434" y="664062"/>
                </a:cubicBezTo>
                <a:cubicBezTo>
                  <a:pt x="259654" y="687541"/>
                  <a:pt x="121700" y="692403"/>
                  <a:pt x="0" y="672120"/>
                </a:cubicBezTo>
                <a:cubicBezTo>
                  <a:pt x="15977" y="656421"/>
                  <a:pt x="30425" y="640305"/>
                  <a:pt x="43484" y="624190"/>
                </a:cubicBezTo>
                <a:cubicBezTo>
                  <a:pt x="33203" y="622801"/>
                  <a:pt x="23062" y="621134"/>
                  <a:pt x="12920" y="619327"/>
                </a:cubicBezTo>
                <a:cubicBezTo>
                  <a:pt x="27785" y="603490"/>
                  <a:pt x="41261" y="587513"/>
                  <a:pt x="53348" y="571259"/>
                </a:cubicBezTo>
                <a:cubicBezTo>
                  <a:pt x="44040" y="569869"/>
                  <a:pt x="34871" y="568341"/>
                  <a:pt x="25840" y="566535"/>
                </a:cubicBezTo>
                <a:cubicBezTo>
                  <a:pt x="39733" y="550697"/>
                  <a:pt x="52098" y="534582"/>
                  <a:pt x="63351" y="518327"/>
                </a:cubicBezTo>
                <a:cubicBezTo>
                  <a:pt x="55015" y="516938"/>
                  <a:pt x="46818" y="515410"/>
                  <a:pt x="38761" y="513743"/>
                </a:cubicBezTo>
                <a:cubicBezTo>
                  <a:pt x="51542" y="497905"/>
                  <a:pt x="62934" y="481790"/>
                  <a:pt x="73353" y="465396"/>
                </a:cubicBezTo>
                <a:cubicBezTo>
                  <a:pt x="66129" y="464146"/>
                  <a:pt x="58905" y="462618"/>
                  <a:pt x="51681" y="460951"/>
                </a:cubicBezTo>
                <a:cubicBezTo>
                  <a:pt x="63351" y="444974"/>
                  <a:pt x="84051" y="419134"/>
                  <a:pt x="93637" y="402879"/>
                </a:cubicBezTo>
                <a:cubicBezTo>
                  <a:pt x="87385" y="401629"/>
                  <a:pt x="70853" y="409826"/>
                  <a:pt x="64740" y="408297"/>
                </a:cubicBezTo>
                <a:cubicBezTo>
                  <a:pt x="75298" y="392321"/>
                  <a:pt x="95026" y="367175"/>
                  <a:pt x="103639" y="350643"/>
                </a:cubicBezTo>
                <a:cubicBezTo>
                  <a:pt x="98360" y="349392"/>
                  <a:pt x="82800" y="357033"/>
                  <a:pt x="77660" y="355505"/>
                </a:cubicBezTo>
                <a:cubicBezTo>
                  <a:pt x="87107" y="339390"/>
                  <a:pt x="111142" y="313410"/>
                  <a:pt x="118782" y="296878"/>
                </a:cubicBezTo>
                <a:cubicBezTo>
                  <a:pt x="114476" y="295767"/>
                  <a:pt x="94748" y="304102"/>
                  <a:pt x="90580" y="302713"/>
                </a:cubicBezTo>
                <a:cubicBezTo>
                  <a:pt x="95304" y="293544"/>
                  <a:pt x="121700" y="268120"/>
                  <a:pt x="125868" y="258812"/>
                </a:cubicBezTo>
                <a:cubicBezTo>
                  <a:pt x="122950" y="257701"/>
                  <a:pt x="98082" y="272844"/>
                  <a:pt x="95165" y="271593"/>
                </a:cubicBezTo>
                <a:cubicBezTo>
                  <a:pt x="100166" y="259090"/>
                  <a:pt x="115031" y="238251"/>
                  <a:pt x="119477" y="225609"/>
                </a:cubicBezTo>
                <a:cubicBezTo>
                  <a:pt x="116838" y="224775"/>
                  <a:pt x="103778" y="231999"/>
                  <a:pt x="101139" y="231027"/>
                </a:cubicBezTo>
                <a:cubicBezTo>
                  <a:pt x="117949" y="194628"/>
                  <a:pt x="136843" y="160313"/>
                  <a:pt x="147263" y="121830"/>
                </a:cubicBezTo>
                <a:cubicBezTo>
                  <a:pt x="164906" y="41391"/>
                  <a:pt x="155459" y="82514"/>
                  <a:pt x="166712" y="4298"/>
                </a:cubicBezTo>
                <a:lnTo>
                  <a:pt x="166712" y="4298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1DE70888-5298-48B8-95DD-2433FF32B85D}"/>
              </a:ext>
            </a:extLst>
          </p:cNvPr>
          <p:cNvSpPr/>
          <p:nvPr/>
        </p:nvSpPr>
        <p:spPr>
          <a:xfrm>
            <a:off x="2501607" y="5056240"/>
            <a:ext cx="6953986" cy="3587370"/>
          </a:xfrm>
          <a:custGeom>
            <a:avLst/>
            <a:gdLst>
              <a:gd name="connsiteX0" fmla="*/ 0 w 6953986"/>
              <a:gd name="connsiteY0" fmla="*/ 1564595 h 3587370"/>
              <a:gd name="connsiteX1" fmla="*/ 1457899 w 6953986"/>
              <a:gd name="connsiteY1" fmla="*/ 849260 h 3587370"/>
              <a:gd name="connsiteX2" fmla="*/ 2353978 w 6953986"/>
              <a:gd name="connsiteY2" fmla="*/ 302305 h 3587370"/>
              <a:gd name="connsiteX3" fmla="*/ 2935109 w 6953986"/>
              <a:gd name="connsiteY3" fmla="*/ 0 h 3587370"/>
              <a:gd name="connsiteX4" fmla="*/ 3140860 w 6953986"/>
              <a:gd name="connsiteY4" fmla="*/ 17644 h 3587370"/>
              <a:gd name="connsiteX5" fmla="*/ 3390789 w 6953986"/>
              <a:gd name="connsiteY5" fmla="*/ 85579 h 3587370"/>
              <a:gd name="connsiteX6" fmla="*/ 3593484 w 6953986"/>
              <a:gd name="connsiteY6" fmla="*/ 29453 h 3587370"/>
              <a:gd name="connsiteX7" fmla="*/ 3664059 w 6953986"/>
              <a:gd name="connsiteY7" fmla="*/ 100027 h 3587370"/>
              <a:gd name="connsiteX8" fmla="*/ 3881618 w 6953986"/>
              <a:gd name="connsiteY8" fmla="*/ 26257 h 3587370"/>
              <a:gd name="connsiteX9" fmla="*/ 3954277 w 6953986"/>
              <a:gd name="connsiteY9" fmla="*/ 4862 h 3587370"/>
              <a:gd name="connsiteX10" fmla="*/ 4049998 w 6953986"/>
              <a:gd name="connsiteY10" fmla="*/ 104751 h 3587370"/>
              <a:gd name="connsiteX11" fmla="*/ 4169475 w 6953986"/>
              <a:gd name="connsiteY11" fmla="*/ 200749 h 3587370"/>
              <a:gd name="connsiteX12" fmla="*/ 4239911 w 6953986"/>
              <a:gd name="connsiteY12" fmla="*/ 309529 h 3587370"/>
              <a:gd name="connsiteX13" fmla="*/ 4239911 w 6953986"/>
              <a:gd name="connsiteY13" fmla="*/ 416225 h 3587370"/>
              <a:gd name="connsiteX14" fmla="*/ 4203651 w 6953986"/>
              <a:gd name="connsiteY14" fmla="*/ 778963 h 3587370"/>
              <a:gd name="connsiteX15" fmla="*/ 5312427 w 6953986"/>
              <a:gd name="connsiteY15" fmla="*/ 1376766 h 3587370"/>
              <a:gd name="connsiteX16" fmla="*/ 5585279 w 6953986"/>
              <a:gd name="connsiteY16" fmla="*/ 1807022 h 3587370"/>
              <a:gd name="connsiteX17" fmla="*/ 6711142 w 6953986"/>
              <a:gd name="connsiteY17" fmla="*/ 2038614 h 3587370"/>
              <a:gd name="connsiteX18" fmla="*/ 6953987 w 6953986"/>
              <a:gd name="connsiteY18" fmla="*/ 2484430 h 3587370"/>
              <a:gd name="connsiteX19" fmla="*/ 6162104 w 6953986"/>
              <a:gd name="connsiteY19" fmla="*/ 3209073 h 3587370"/>
              <a:gd name="connsiteX20" fmla="*/ 1621277 w 6953986"/>
              <a:gd name="connsiteY20" fmla="*/ 3587371 h 3587370"/>
              <a:gd name="connsiteX21" fmla="*/ 128368 w 6953986"/>
              <a:gd name="connsiteY21" fmla="*/ 2548892 h 3587370"/>
              <a:gd name="connsiteX22" fmla="*/ 0 w 6953986"/>
              <a:gd name="connsiteY22" fmla="*/ 1564595 h 3587370"/>
              <a:gd name="connsiteX23" fmla="*/ 0 w 6953986"/>
              <a:gd name="connsiteY23" fmla="*/ 1564595 h 358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953986" h="3587370">
                <a:moveTo>
                  <a:pt x="0" y="1564595"/>
                </a:moveTo>
                <a:cubicBezTo>
                  <a:pt x="0" y="1564595"/>
                  <a:pt x="866487" y="1093355"/>
                  <a:pt x="1457899" y="849260"/>
                </a:cubicBezTo>
                <a:cubicBezTo>
                  <a:pt x="1831057" y="695190"/>
                  <a:pt x="2319941" y="315920"/>
                  <a:pt x="2353978" y="302305"/>
                </a:cubicBezTo>
                <a:cubicBezTo>
                  <a:pt x="2442196" y="267018"/>
                  <a:pt x="2935109" y="0"/>
                  <a:pt x="2935109" y="0"/>
                </a:cubicBezTo>
                <a:lnTo>
                  <a:pt x="3140860" y="17644"/>
                </a:lnTo>
                <a:lnTo>
                  <a:pt x="3390789" y="85579"/>
                </a:lnTo>
                <a:lnTo>
                  <a:pt x="3593484" y="29453"/>
                </a:lnTo>
                <a:lnTo>
                  <a:pt x="3664059" y="100027"/>
                </a:lnTo>
                <a:lnTo>
                  <a:pt x="3881618" y="26257"/>
                </a:lnTo>
                <a:lnTo>
                  <a:pt x="3954277" y="4862"/>
                </a:lnTo>
                <a:lnTo>
                  <a:pt x="4049998" y="104751"/>
                </a:lnTo>
                <a:lnTo>
                  <a:pt x="4169475" y="200749"/>
                </a:lnTo>
                <a:lnTo>
                  <a:pt x="4239911" y="309529"/>
                </a:lnTo>
                <a:lnTo>
                  <a:pt x="4239911" y="416225"/>
                </a:lnTo>
                <a:cubicBezTo>
                  <a:pt x="4239911" y="416225"/>
                  <a:pt x="4218516" y="721309"/>
                  <a:pt x="4203651" y="778963"/>
                </a:cubicBezTo>
                <a:cubicBezTo>
                  <a:pt x="4188786" y="836618"/>
                  <a:pt x="5206009" y="1240062"/>
                  <a:pt x="5312427" y="1376766"/>
                </a:cubicBezTo>
                <a:cubicBezTo>
                  <a:pt x="5418845" y="1513470"/>
                  <a:pt x="5585279" y="1807022"/>
                  <a:pt x="5585279" y="1807022"/>
                </a:cubicBezTo>
                <a:lnTo>
                  <a:pt x="6711142" y="2038614"/>
                </a:lnTo>
                <a:lnTo>
                  <a:pt x="6953987" y="2484430"/>
                </a:lnTo>
                <a:lnTo>
                  <a:pt x="6162104" y="3209073"/>
                </a:lnTo>
                <a:lnTo>
                  <a:pt x="1621277" y="3587371"/>
                </a:lnTo>
                <a:cubicBezTo>
                  <a:pt x="1621277" y="3587371"/>
                  <a:pt x="6807" y="2655171"/>
                  <a:pt x="128368" y="2548892"/>
                </a:cubicBezTo>
                <a:cubicBezTo>
                  <a:pt x="249652" y="2442335"/>
                  <a:pt x="0" y="1564595"/>
                  <a:pt x="0" y="1564595"/>
                </a:cubicBezTo>
                <a:lnTo>
                  <a:pt x="0" y="1564595"/>
                </a:lnTo>
                <a:close/>
              </a:path>
            </a:pathLst>
          </a:custGeom>
          <a:solidFill>
            <a:srgbClr val="093C4A"/>
          </a:solidFill>
          <a:ln w="1388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B215BA22-8AB7-C88A-7A5F-C4F55956FA8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8110" y="2674364"/>
            <a:ext cx="2848909" cy="31411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72FF3C98-BA86-02F0-5B96-4EDE32AFE93C}"/>
              </a:ext>
            </a:extLst>
          </p:cNvPr>
          <p:cNvSpPr txBox="1"/>
          <p:nvPr/>
        </p:nvSpPr>
        <p:spPr>
          <a:xfrm>
            <a:off x="476748" y="3213483"/>
            <a:ext cx="117852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ture" panose="020B0804020202020204" pitchFamily="34" charset="0"/>
                <a:ea typeface="+mn-ea"/>
                <a:cs typeface="+mn-cs"/>
              </a:rPr>
              <a:t>SUB 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728BFE-4CB8-9381-3823-E83513B72385}"/>
              </a:ext>
            </a:extLst>
          </p:cNvPr>
          <p:cNvSpPr txBox="1"/>
          <p:nvPr/>
        </p:nvSpPr>
        <p:spPr>
          <a:xfrm>
            <a:off x="4138978" y="1833472"/>
            <a:ext cx="41462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ture" panose="020B0804020202020204" pitchFamily="34" charset="0"/>
                <a:ea typeface="+mn-ea"/>
                <a:cs typeface="+mn-cs"/>
              </a:rPr>
              <a:t>IMPLEMENTASI SIST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9799000-A0DD-9AF8-FF0A-76ACD8D814BE}"/>
              </a:ext>
            </a:extLst>
          </p:cNvPr>
          <p:cNvSpPr txBox="1"/>
          <p:nvPr/>
        </p:nvSpPr>
        <p:spPr>
          <a:xfrm>
            <a:off x="4397027" y="2622701"/>
            <a:ext cx="649264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okumenta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merupak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bagi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pent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ala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implementa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iste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computer. Teknik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okumenta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epert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bag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l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program d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tabe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keputus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berfung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ebaga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l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okumenta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am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sepert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l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yang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digunak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oleh programmer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untu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analis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50" charset="0"/>
                <a:ea typeface="+mn-ea"/>
                <a:cs typeface="+mn-cs"/>
              </a:rPr>
              <a:t>.</a:t>
            </a:r>
          </a:p>
        </p:txBody>
      </p:sp>
      <p:pic>
        <p:nvPicPr>
          <p:cNvPr id="8" name="Picture 7" descr="A person standing next to a backpack&#10;&#10;Description automatically generated with low confidence">
            <a:extLst>
              <a:ext uri="{FF2B5EF4-FFF2-40B4-BE49-F238E27FC236}">
                <a16:creationId xmlns:a16="http://schemas.microsoft.com/office/drawing/2014/main" id="{8BB9B147-7A11-5F6E-FD65-6097E9BBFCB5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26" t="1365" r="37362" b="2095"/>
          <a:stretch/>
        </p:blipFill>
        <p:spPr>
          <a:xfrm rot="20136689">
            <a:off x="2494191" y="1047777"/>
            <a:ext cx="1144207" cy="2445088"/>
          </a:xfrm>
          <a:custGeom>
            <a:avLst/>
            <a:gdLst>
              <a:gd name="connsiteX0" fmla="*/ 595292 w 874912"/>
              <a:gd name="connsiteY0" fmla="*/ 0 h 1869624"/>
              <a:gd name="connsiteX1" fmla="*/ 630050 w 874912"/>
              <a:gd name="connsiteY1" fmla="*/ 0 h 1869624"/>
              <a:gd name="connsiteX2" fmla="*/ 725835 w 874912"/>
              <a:gd name="connsiteY2" fmla="*/ 209211 h 1869624"/>
              <a:gd name="connsiteX3" fmla="*/ 693430 w 874912"/>
              <a:gd name="connsiteY3" fmla="*/ 1869624 h 1869624"/>
              <a:gd name="connsiteX4" fmla="*/ 61342 w 874912"/>
              <a:gd name="connsiteY4" fmla="*/ 1593703 h 1869624"/>
              <a:gd name="connsiteX5" fmla="*/ 87374 w 874912"/>
              <a:gd name="connsiteY5" fmla="*/ 1534048 h 1869624"/>
              <a:gd name="connsiteX6" fmla="*/ 62947 w 874912"/>
              <a:gd name="connsiteY6" fmla="*/ 441931 h 1869624"/>
              <a:gd name="connsiteX7" fmla="*/ 0 w 874912"/>
              <a:gd name="connsiteY7" fmla="*/ 314475 h 1869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4912" h="1869624">
                <a:moveTo>
                  <a:pt x="595292" y="0"/>
                </a:moveTo>
                <a:lnTo>
                  <a:pt x="630050" y="0"/>
                </a:lnTo>
                <a:lnTo>
                  <a:pt x="725835" y="209211"/>
                </a:lnTo>
                <a:cubicBezTo>
                  <a:pt x="934100" y="741983"/>
                  <a:pt x="924930" y="1339298"/>
                  <a:pt x="693430" y="1869624"/>
                </a:cubicBezTo>
                <a:lnTo>
                  <a:pt x="61342" y="1593703"/>
                </a:lnTo>
                <a:lnTo>
                  <a:pt x="87374" y="1534048"/>
                </a:lnTo>
                <a:cubicBezTo>
                  <a:pt x="220133" y="1184271"/>
                  <a:pt x="214188" y="790993"/>
                  <a:pt x="62947" y="441931"/>
                </a:cubicBezTo>
                <a:lnTo>
                  <a:pt x="0" y="314475"/>
                </a:lnTo>
                <a:close/>
              </a:path>
            </a:pathLst>
          </a:custGeom>
        </p:spPr>
      </p:pic>
      <p:pic>
        <p:nvPicPr>
          <p:cNvPr id="10" name="Picture 9" descr="A picture containing underwater, diving, coral reef, organism&#10;&#10;Description automatically generated">
            <a:extLst>
              <a:ext uri="{FF2B5EF4-FFF2-40B4-BE49-F238E27FC236}">
                <a16:creationId xmlns:a16="http://schemas.microsoft.com/office/drawing/2014/main" id="{02E20ACD-88DA-4801-52C4-FE84CA4A546C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75" t="414" r="50149" b="6697"/>
          <a:stretch/>
        </p:blipFill>
        <p:spPr>
          <a:xfrm rot="1741061">
            <a:off x="2045604" y="3180104"/>
            <a:ext cx="886132" cy="1880822"/>
          </a:xfrm>
          <a:custGeom>
            <a:avLst/>
            <a:gdLst>
              <a:gd name="connsiteX0" fmla="*/ 598352 w 886132"/>
              <a:gd name="connsiteY0" fmla="*/ 0 h 1880822"/>
              <a:gd name="connsiteX1" fmla="*/ 733462 w 886132"/>
              <a:gd name="connsiteY1" fmla="*/ 1880822 h 1880822"/>
              <a:gd name="connsiteX2" fmla="*/ 83309 w 886132"/>
              <a:gd name="connsiteY2" fmla="*/ 1623344 h 1880822"/>
              <a:gd name="connsiteX3" fmla="*/ 118493 w 886132"/>
              <a:gd name="connsiteY3" fmla="*/ 1534532 h 1880822"/>
              <a:gd name="connsiteX4" fmla="*/ 191706 w 886132"/>
              <a:gd name="connsiteY4" fmla="*/ 963376 h 1880822"/>
              <a:gd name="connsiteX5" fmla="*/ 37593 w 886132"/>
              <a:gd name="connsiteY5" fmla="*/ 408553 h 1880822"/>
              <a:gd name="connsiteX6" fmla="*/ 0 w 886132"/>
              <a:gd name="connsiteY6" fmla="*/ 342991 h 1880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6132" h="1880822">
                <a:moveTo>
                  <a:pt x="598352" y="0"/>
                </a:moveTo>
                <a:cubicBezTo>
                  <a:pt x="927225" y="573724"/>
                  <a:pt x="976953" y="1265981"/>
                  <a:pt x="733462" y="1880822"/>
                </a:cubicBezTo>
                <a:lnTo>
                  <a:pt x="83309" y="1623344"/>
                </a:lnTo>
                <a:lnTo>
                  <a:pt x="118493" y="1534532"/>
                </a:lnTo>
                <a:cubicBezTo>
                  <a:pt x="179250" y="1356233"/>
                  <a:pt x="206054" y="1163077"/>
                  <a:pt x="191706" y="963376"/>
                </a:cubicBezTo>
                <a:cubicBezTo>
                  <a:pt x="177358" y="763675"/>
                  <a:pt x="123216" y="576334"/>
                  <a:pt x="37593" y="408553"/>
                </a:cubicBezTo>
                <a:lnTo>
                  <a:pt x="0" y="342991"/>
                </a:lnTo>
                <a:close/>
              </a:path>
            </a:pathLst>
          </a:custGeom>
        </p:spPr>
      </p:pic>
      <p:pic>
        <p:nvPicPr>
          <p:cNvPr id="12" name="Picture 11" descr="A grey fox sitting on a log&#10;&#10;Description automatically generated with medium confidence">
            <a:extLst>
              <a:ext uri="{FF2B5EF4-FFF2-40B4-BE49-F238E27FC236}">
                <a16:creationId xmlns:a16="http://schemas.microsoft.com/office/drawing/2014/main" id="{3B7ACDB4-E320-D01C-C148-3228B83452D5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24" t="-17" r="5530" b="580"/>
          <a:stretch/>
        </p:blipFill>
        <p:spPr>
          <a:xfrm rot="4952640">
            <a:off x="846117" y="4182865"/>
            <a:ext cx="922163" cy="1874659"/>
          </a:xfrm>
          <a:custGeom>
            <a:avLst/>
            <a:gdLst>
              <a:gd name="connsiteX0" fmla="*/ 593530 w 922163"/>
              <a:gd name="connsiteY0" fmla="*/ 0 h 1874659"/>
              <a:gd name="connsiteX1" fmla="*/ 797423 w 922163"/>
              <a:gd name="connsiteY1" fmla="*/ 1874659 h 1874659"/>
              <a:gd name="connsiteX2" fmla="*/ 112453 w 922163"/>
              <a:gd name="connsiteY2" fmla="*/ 1632004 h 1874659"/>
              <a:gd name="connsiteX3" fmla="*/ 113897 w 922163"/>
              <a:gd name="connsiteY3" fmla="*/ 1628715 h 1874659"/>
              <a:gd name="connsiteX4" fmla="*/ 23880 w 922163"/>
              <a:gd name="connsiteY4" fmla="*/ 408092 h 1874659"/>
              <a:gd name="connsiteX5" fmla="*/ 0 w 922163"/>
              <a:gd name="connsiteY5" fmla="*/ 369749 h 1874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2163" h="1874659">
                <a:moveTo>
                  <a:pt x="593530" y="0"/>
                </a:moveTo>
                <a:cubicBezTo>
                  <a:pt x="943206" y="561308"/>
                  <a:pt x="1018253" y="1251301"/>
                  <a:pt x="797423" y="1874659"/>
                </a:cubicBezTo>
                <a:lnTo>
                  <a:pt x="112453" y="1632004"/>
                </a:lnTo>
                <a:lnTo>
                  <a:pt x="113897" y="1628715"/>
                </a:lnTo>
                <a:cubicBezTo>
                  <a:pt x="267863" y="1223381"/>
                  <a:pt x="228725" y="775771"/>
                  <a:pt x="23880" y="408092"/>
                </a:cubicBezTo>
                <a:lnTo>
                  <a:pt x="0" y="369749"/>
                </a:lnTo>
                <a:close/>
              </a:path>
            </a:pathLst>
          </a:custGeom>
        </p:spPr>
      </p:pic>
      <p:pic>
        <p:nvPicPr>
          <p:cNvPr id="13" name="Picture 12" descr="A car parked in a parking lot&#10;&#10;Description automatically generated with low confidence">
            <a:extLst>
              <a:ext uri="{FF2B5EF4-FFF2-40B4-BE49-F238E27FC236}">
                <a16:creationId xmlns:a16="http://schemas.microsoft.com/office/drawing/2014/main" id="{00C3A7DE-5E0D-2823-9D39-8F3AC43CD739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07" t="1871" r="21821" b="1016"/>
          <a:stretch/>
        </p:blipFill>
        <p:spPr>
          <a:xfrm rot="8222133">
            <a:off x="-696951" y="3867722"/>
            <a:ext cx="988046" cy="1861085"/>
          </a:xfrm>
          <a:custGeom>
            <a:avLst/>
            <a:gdLst>
              <a:gd name="connsiteX0" fmla="*/ 595376 w 988046"/>
              <a:gd name="connsiteY0" fmla="*/ 0 h 1861085"/>
              <a:gd name="connsiteX1" fmla="*/ 899148 w 988046"/>
              <a:gd name="connsiteY1" fmla="*/ 1861085 h 1861085"/>
              <a:gd name="connsiteX2" fmla="*/ 177353 w 988046"/>
              <a:gd name="connsiteY2" fmla="*/ 1648046 h 1861085"/>
              <a:gd name="connsiteX3" fmla="*/ 211504 w 988046"/>
              <a:gd name="connsiteY3" fmla="*/ 1517512 h 1861085"/>
              <a:gd name="connsiteX4" fmla="*/ 135531 w 988046"/>
              <a:gd name="connsiteY4" fmla="*/ 673183 h 1861085"/>
              <a:gd name="connsiteX5" fmla="*/ 72749 w 988046"/>
              <a:gd name="connsiteY5" fmla="*/ 538659 h 1861085"/>
              <a:gd name="connsiteX6" fmla="*/ 0 w 988046"/>
              <a:gd name="connsiteY6" fmla="*/ 416647 h 1861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8046" h="1861085">
                <a:moveTo>
                  <a:pt x="595376" y="0"/>
                </a:moveTo>
                <a:cubicBezTo>
                  <a:pt x="974545" y="541822"/>
                  <a:pt x="1086352" y="1226818"/>
                  <a:pt x="899148" y="1861085"/>
                </a:cubicBezTo>
                <a:lnTo>
                  <a:pt x="177353" y="1648046"/>
                </a:lnTo>
                <a:lnTo>
                  <a:pt x="211504" y="1517512"/>
                </a:lnTo>
                <a:cubicBezTo>
                  <a:pt x="269169" y="1244228"/>
                  <a:pt x="248652" y="951387"/>
                  <a:pt x="135531" y="673183"/>
                </a:cubicBezTo>
                <a:cubicBezTo>
                  <a:pt x="116677" y="626816"/>
                  <a:pt x="95697" y="581952"/>
                  <a:pt x="72749" y="538659"/>
                </a:cubicBezTo>
                <a:lnTo>
                  <a:pt x="0" y="416647"/>
                </a:lnTo>
                <a:close/>
              </a:path>
            </a:pathLst>
          </a:custGeom>
        </p:spPr>
      </p:pic>
      <p:pic>
        <p:nvPicPr>
          <p:cNvPr id="16" name="Picture 15" descr="A picture containing fruit, orange, citrus&#10;&#10;Description automatically generated">
            <a:extLst>
              <a:ext uri="{FF2B5EF4-FFF2-40B4-BE49-F238E27FC236}">
                <a16:creationId xmlns:a16="http://schemas.microsoft.com/office/drawing/2014/main" id="{219F4A5B-3FDF-7CC2-6D23-06AE28836EB2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47" t="519" r="14347" b="-1264"/>
          <a:stretch/>
        </p:blipFill>
        <p:spPr>
          <a:xfrm rot="14021460">
            <a:off x="-766302" y="1047231"/>
            <a:ext cx="931683" cy="1883012"/>
          </a:xfrm>
          <a:custGeom>
            <a:avLst/>
            <a:gdLst>
              <a:gd name="connsiteX0" fmla="*/ 663201 w 931683"/>
              <a:gd name="connsiteY0" fmla="*/ 0 h 1883012"/>
              <a:gd name="connsiteX1" fmla="*/ 764145 w 931683"/>
              <a:gd name="connsiteY1" fmla="*/ 1883012 h 1883012"/>
              <a:gd name="connsiteX2" fmla="*/ 85112 w 931683"/>
              <a:gd name="connsiteY2" fmla="*/ 1599722 h 1883012"/>
              <a:gd name="connsiteX3" fmla="*/ 127270 w 931683"/>
              <a:gd name="connsiteY3" fmla="*/ 1476942 h 1883012"/>
              <a:gd name="connsiteX4" fmla="*/ 5811 w 931683"/>
              <a:gd name="connsiteY4" fmla="*/ 373757 h 1883012"/>
              <a:gd name="connsiteX5" fmla="*/ 0 w 931683"/>
              <a:gd name="connsiteY5" fmla="*/ 364339 h 1883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1683" h="1883012">
                <a:moveTo>
                  <a:pt x="663201" y="0"/>
                </a:moveTo>
                <a:cubicBezTo>
                  <a:pt x="981620" y="579612"/>
                  <a:pt x="1018774" y="1272680"/>
                  <a:pt x="764145" y="1883012"/>
                </a:cubicBezTo>
                <a:lnTo>
                  <a:pt x="85112" y="1599722"/>
                </a:lnTo>
                <a:lnTo>
                  <a:pt x="127270" y="1476942"/>
                </a:lnTo>
                <a:cubicBezTo>
                  <a:pt x="230914" y="1120599"/>
                  <a:pt x="198616" y="724715"/>
                  <a:pt x="5811" y="373757"/>
                </a:cubicBezTo>
                <a:lnTo>
                  <a:pt x="0" y="364339"/>
                </a:lnTo>
                <a:close/>
              </a:path>
            </a:pathLst>
          </a:custGeom>
        </p:spPr>
      </p:pic>
      <p:pic>
        <p:nvPicPr>
          <p:cNvPr id="17" name="Picture 16" descr="A picture containing reef, red&#10;&#10;Description automatically generated">
            <a:extLst>
              <a:ext uri="{FF2B5EF4-FFF2-40B4-BE49-F238E27FC236}">
                <a16:creationId xmlns:a16="http://schemas.microsoft.com/office/drawing/2014/main" id="{997E9943-2A2D-E59C-5F5A-57A412B38A30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" r="33298" b="6961"/>
          <a:stretch/>
        </p:blipFill>
        <p:spPr>
          <a:xfrm rot="17694489">
            <a:off x="650913" y="683914"/>
            <a:ext cx="1049351" cy="1838435"/>
          </a:xfrm>
          <a:custGeom>
            <a:avLst/>
            <a:gdLst>
              <a:gd name="connsiteX0" fmla="*/ 575238 w 1049351"/>
              <a:gd name="connsiteY0" fmla="*/ 0 h 1838435"/>
              <a:gd name="connsiteX1" fmla="*/ 994849 w 1049351"/>
              <a:gd name="connsiteY1" fmla="*/ 1838435 h 1838435"/>
              <a:gd name="connsiteX2" fmla="*/ 307617 w 1049351"/>
              <a:gd name="connsiteY2" fmla="*/ 1681579 h 1838435"/>
              <a:gd name="connsiteX3" fmla="*/ 307950 w 1049351"/>
              <a:gd name="connsiteY3" fmla="*/ 1680284 h 1838435"/>
              <a:gd name="connsiteX4" fmla="*/ 337410 w 1049351"/>
              <a:gd name="connsiteY4" fmla="*/ 1388040 h 1838435"/>
              <a:gd name="connsiteX5" fmla="*/ 6280 w 1049351"/>
              <a:gd name="connsiteY5" fmla="*/ 465647 h 1838435"/>
              <a:gd name="connsiteX6" fmla="*/ 0 w 1049351"/>
              <a:gd name="connsiteY6" fmla="*/ 458737 h 1838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9351" h="1838435">
                <a:moveTo>
                  <a:pt x="575238" y="0"/>
                </a:moveTo>
                <a:cubicBezTo>
                  <a:pt x="987563" y="517039"/>
                  <a:pt x="1142005" y="1193699"/>
                  <a:pt x="994849" y="1838435"/>
                </a:cubicBezTo>
                <a:lnTo>
                  <a:pt x="307617" y="1681579"/>
                </a:lnTo>
                <a:lnTo>
                  <a:pt x="307950" y="1680284"/>
                </a:lnTo>
                <a:cubicBezTo>
                  <a:pt x="327266" y="1585887"/>
                  <a:pt x="337410" y="1488148"/>
                  <a:pt x="337410" y="1388040"/>
                </a:cubicBezTo>
                <a:cubicBezTo>
                  <a:pt x="337410" y="1037662"/>
                  <a:pt x="213145" y="716308"/>
                  <a:pt x="6280" y="465647"/>
                </a:cubicBezTo>
                <a:lnTo>
                  <a:pt x="0" y="458737"/>
                </a:lnTo>
                <a:close/>
              </a:path>
            </a:pathLst>
          </a:cu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25EA966D-D5A0-A308-4EC8-073278039D3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534538" y="1716284"/>
            <a:ext cx="3714750" cy="409575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AE8F2A2E-0DA1-06C9-B05B-538767D5001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536013" y="1128852"/>
            <a:ext cx="2848909" cy="31411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83596808-5F13-A0F7-74AA-E0538F481A8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696299" y="3807954"/>
            <a:ext cx="723900" cy="14668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59B501A-631F-EE0E-9B23-2B128B057567}"/>
              </a:ext>
            </a:extLst>
          </p:cNvPr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02" t="14338" r="24694" b="3682"/>
          <a:stretch/>
        </p:blipFill>
        <p:spPr>
          <a:xfrm rot="11104775">
            <a:off x="-1389159" y="2467368"/>
            <a:ext cx="1015218" cy="1943364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339992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A31FD8-C238-1906-3FAD-9C646B9A3A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6C6F0C4-D99D-A4CE-5303-AEB7E966C2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6C6F0C4-D99D-A4CE-5303-AEB7E966C2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780BD94-930B-A283-EB2C-FD453118C064}"/>
              </a:ext>
            </a:extLst>
          </p:cNvPr>
          <p:cNvSpPr txBox="1"/>
          <p:nvPr/>
        </p:nvSpPr>
        <p:spPr>
          <a:xfrm>
            <a:off x="595214" y="906240"/>
            <a:ext cx="6020448" cy="52322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400" spc="300" dirty="0">
                <a:solidFill>
                  <a:schemeClr val="tx2"/>
                </a:solidFill>
              </a:rPr>
              <a:t>TEKNIK – TEKNIK SISTE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F01DD7-DB34-2394-60B1-9626619FC394}"/>
              </a:ext>
            </a:extLst>
          </p:cNvPr>
          <p:cNvSpPr txBox="1"/>
          <p:nvPr/>
        </p:nvSpPr>
        <p:spPr>
          <a:xfrm>
            <a:off x="595214" y="1419226"/>
            <a:ext cx="6878976" cy="498598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rdapat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eberapa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knik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–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knik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stem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yang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mum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unakan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leh auditor dan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engembangan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stem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ntara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ain:</a:t>
            </a: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bol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–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bol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Bagan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us</a:t>
            </a:r>
            <a:endParaRPr lang="en-US" altLang="de-DE" sz="24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gan IPO DAN HIPO</a:t>
            </a: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gan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us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stem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an Program</a:t>
            </a: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agram – diagram Arus Data Logis</a:t>
            </a:r>
            <a:endParaRPr lang="en-US" altLang="de-DE" sz="24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endParaRPr lang="de-DE" altLang="de-DE" sz="36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B8CFBE27-279B-4C94-AE72-C954033846CE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73EDF468-5D96-9C81-DC39-200A79FCBDC0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F3B18F50-9588-33A2-7C08-1E2CD46E8B5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4BBA2AF-3E23-BA2D-2CB7-2DAC2CDFA474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7A74238-5E6B-4D2E-F325-269E0AF8504A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6" name="Footnote">
            <a:extLst>
              <a:ext uri="{FF2B5EF4-FFF2-40B4-BE49-F238E27FC236}">
                <a16:creationId xmlns:a16="http://schemas.microsoft.com/office/drawing/2014/main" id="{8B50F282-825C-8AED-2E31-F6C33A2B5955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806C4CE-EC78-7147-A333-7D9464A1AE76}"/>
              </a:ext>
            </a:extLst>
          </p:cNvPr>
          <p:cNvSpPr txBox="1"/>
          <p:nvPr/>
        </p:nvSpPr>
        <p:spPr>
          <a:xfrm>
            <a:off x="-8380656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3F7D3E-D77A-8706-3EDE-A138180C7A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7561941" y="5"/>
            <a:ext cx="4630058" cy="68580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616667E-D128-0725-7AC1-C59CA5CF69D2}"/>
              </a:ext>
            </a:extLst>
          </p:cNvPr>
          <p:cNvSpPr txBox="1"/>
          <p:nvPr/>
        </p:nvSpPr>
        <p:spPr>
          <a:xfrm>
            <a:off x="10379096" y="571516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tx2"/>
                </a:solidFill>
              </a:rPr>
              <a:t>75%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C215E4-11E9-957E-AD05-DA9DE05FC8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837473B0-CC2E-450A-ABE3-18F120FF3D39}">
                <a1611:picAttrSrcUrl xmlns:a1611="http://schemas.microsoft.com/office/drawing/2016/11/main" r:id="rId10"/>
              </a:ext>
            </a:extLst>
          </a:blip>
          <a:stretch>
            <a:fillRect/>
          </a:stretch>
        </p:blipFill>
        <p:spPr>
          <a:xfrm>
            <a:off x="-4817376" y="0"/>
            <a:ext cx="4694912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930487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FEF49F-65F9-8F7E-DC04-5F9BFA9DE1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9BF77751-0DB9-1352-7002-EC468D91CB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-35826" y="0"/>
            <a:ext cx="4694912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D4E21D-5088-1747-588D-32230D2A1A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4D4E21D-5088-1747-588D-32230D2A1A7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9628778-3A19-43E2-0D45-84A5A5790D49}"/>
              </a:ext>
            </a:extLst>
          </p:cNvPr>
          <p:cNvSpPr txBox="1"/>
          <p:nvPr/>
        </p:nvSpPr>
        <p:spPr>
          <a:xfrm>
            <a:off x="5421214" y="1140935"/>
            <a:ext cx="6601755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FDAF1F"/>
                </a:solidFill>
              </a:rPr>
              <a:t>TEKNIK – TEKNIK SISTE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97965A-0872-C756-5945-C7EE17112250}"/>
              </a:ext>
            </a:extLst>
          </p:cNvPr>
          <p:cNvSpPr txBox="1"/>
          <p:nvPr/>
        </p:nvSpPr>
        <p:spPr>
          <a:xfrm>
            <a:off x="5421214" y="1926318"/>
            <a:ext cx="6056086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endParaRPr lang="de-DE" altLang="de-DE" sz="36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75CC0BBA-DBD3-5490-52DE-FA022C9BBEE7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1426C6D5-040D-6B4B-A341-8E7173DE0DF9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438558F3-A655-FCEC-B603-67951C6B19E8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B2CD6EB-B8BA-716A-EC4B-7D14AA1456C1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D620CC7-CBA0-B556-6EF8-B254ED34386B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6" name="Footnote">
            <a:extLst>
              <a:ext uri="{FF2B5EF4-FFF2-40B4-BE49-F238E27FC236}">
                <a16:creationId xmlns:a16="http://schemas.microsoft.com/office/drawing/2014/main" id="{086D4AF1-05AC-D5D6-43F7-2374241D510D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D7F619C-9527-4DB8-8F88-43F37E841848}"/>
              </a:ext>
            </a:extLst>
          </p:cNvPr>
          <p:cNvSpPr txBox="1"/>
          <p:nvPr/>
        </p:nvSpPr>
        <p:spPr>
          <a:xfrm>
            <a:off x="386741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531FDC-FF42-369E-70CF-945ED8661F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837473B0-CC2E-450A-ABE3-18F120FF3D39}">
                <a1611:picAttrSrcUrl xmlns:a1611="http://schemas.microsoft.com/office/drawing/2016/11/main" r:id="rId10"/>
              </a:ext>
            </a:extLst>
          </a:blip>
          <a:stretch>
            <a:fillRect/>
          </a:stretch>
        </p:blipFill>
        <p:spPr>
          <a:xfrm>
            <a:off x="12282840" y="0"/>
            <a:ext cx="4630058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BD6D8D0-8387-912A-7FD3-3544D119001E}"/>
              </a:ext>
            </a:extLst>
          </p:cNvPr>
          <p:cNvSpPr txBox="1"/>
          <p:nvPr/>
        </p:nvSpPr>
        <p:spPr>
          <a:xfrm>
            <a:off x="14780681" y="5715164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tx2"/>
                </a:solidFill>
              </a:rPr>
              <a:t>75%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9EEA3D-264F-3051-DE8A-09F91F81E293}"/>
              </a:ext>
            </a:extLst>
          </p:cNvPr>
          <p:cNvSpPr txBox="1"/>
          <p:nvPr/>
        </p:nvSpPr>
        <p:spPr>
          <a:xfrm>
            <a:off x="5421214" y="1679091"/>
            <a:ext cx="6056086" cy="443198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agram – diagram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us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ata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ogis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an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nalisis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rstruktur</a:t>
            </a:r>
            <a:endParaRPr lang="en-US" altLang="de-DE" sz="24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gan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us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nalitis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kumen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dan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stribusi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ormulir</a:t>
            </a:r>
            <a:endParaRPr lang="en-US" altLang="de-DE" sz="24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knik –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knik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aratif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knik –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knik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de-DE" sz="2400" spc="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nalisis</a:t>
            </a:r>
            <a:r>
              <a:rPr lang="en-US" altLang="de-DE" sz="24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Keputusan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endParaRPr lang="de-DE" altLang="de-DE" sz="36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51545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AA7BD6-BE8A-7680-DAE1-3895A876C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CCAAA965-C99D-05DC-A2AF-21456109837A}"/>
              </a:ext>
            </a:extLst>
          </p:cNvPr>
          <p:cNvSpPr txBox="1"/>
          <p:nvPr/>
        </p:nvSpPr>
        <p:spPr>
          <a:xfrm>
            <a:off x="2805191" y="2477758"/>
            <a:ext cx="6554709" cy="1586242"/>
          </a:xfrm>
          <a:prstGeom prst="rect">
            <a:avLst/>
          </a:prstGeom>
          <a:noFill/>
        </p:spPr>
        <p:txBody>
          <a:bodyPr wrap="square" rtlCol="0">
            <a:prstTxWarp prst="textDeflateBottom">
              <a:avLst>
                <a:gd name="adj" fmla="val 75749"/>
              </a:avLst>
            </a:prstTxWarp>
            <a:spAutoFit/>
            <a:scene3d>
              <a:camera prst="obliqueBottomRight"/>
              <a:lightRig rig="threePt" dir="t"/>
            </a:scene3d>
          </a:bodyPr>
          <a:lstStyle/>
          <a:p>
            <a:pPr algn="ctr"/>
            <a:r>
              <a:rPr lang="en-US" sz="8800" dirty="0">
                <a:solidFill>
                  <a:srgbClr val="FF0000"/>
                </a:solidFill>
                <a:latin typeface="Bebas Neue" panose="020B0606020202050201" pitchFamily="34" charset="0"/>
              </a:rPr>
              <a:t>thanks</a:t>
            </a:r>
          </a:p>
        </p:txBody>
      </p:sp>
    </p:spTree>
    <p:extLst>
      <p:ext uri="{BB962C8B-B14F-4D97-AF65-F5344CB8AC3E}">
        <p14:creationId xmlns:p14="http://schemas.microsoft.com/office/powerpoint/2010/main" val="3117641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1D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733E1C-109C-49C0-87D5-2F21369602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733E1C-109C-49C0-87D5-2F21369602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A4ACE5-10D3-415B-9571-45426C854F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836BFA-5538-4513-9B75-F06B323E2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680" y="522598"/>
            <a:ext cx="10744200" cy="866648"/>
          </a:xfrm>
        </p:spPr>
        <p:txBody>
          <a:bodyPr numCol="1"/>
          <a:lstStyle/>
          <a:p>
            <a:r>
              <a:rPr lang="en-US" sz="3600" dirty="0"/>
              <a:t>TEKNIK DAN DOKUMENTASI SISTE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6C75056-6086-4A85-BB1D-7757954AFB36}"/>
              </a:ext>
            </a:extLst>
          </p:cNvPr>
          <p:cNvSpPr/>
          <p:nvPr/>
        </p:nvSpPr>
        <p:spPr>
          <a:xfrm>
            <a:off x="9671515" y="116572"/>
            <a:ext cx="131078" cy="131078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23DFFA-1938-4738-B2F9-89F78B813D82}"/>
              </a:ext>
            </a:extLst>
          </p:cNvPr>
          <p:cNvSpPr/>
          <p:nvPr/>
        </p:nvSpPr>
        <p:spPr>
          <a:xfrm>
            <a:off x="10082132" y="116572"/>
            <a:ext cx="131078" cy="131078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3D9B9F-C669-40DE-854B-29A01F5F62B3}"/>
              </a:ext>
            </a:extLst>
          </p:cNvPr>
          <p:cNvSpPr/>
          <p:nvPr/>
        </p:nvSpPr>
        <p:spPr>
          <a:xfrm>
            <a:off x="10903366" y="116572"/>
            <a:ext cx="131078" cy="131078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1D995EA-F028-446E-9DCB-E00BF6EDA545}"/>
              </a:ext>
            </a:extLst>
          </p:cNvPr>
          <p:cNvSpPr/>
          <p:nvPr/>
        </p:nvSpPr>
        <p:spPr>
          <a:xfrm>
            <a:off x="11313983" y="116572"/>
            <a:ext cx="131078" cy="131078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6F9ACA-9E4F-43DA-83B4-8BEE7B6EA12D}"/>
              </a:ext>
            </a:extLst>
          </p:cNvPr>
          <p:cNvSpPr/>
          <p:nvPr/>
        </p:nvSpPr>
        <p:spPr>
          <a:xfrm>
            <a:off x="11724598" y="116572"/>
            <a:ext cx="131078" cy="131078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1DD8646-D1B7-4D63-8E50-A6E449D95046}"/>
              </a:ext>
            </a:extLst>
          </p:cNvPr>
          <p:cNvSpPr/>
          <p:nvPr/>
        </p:nvSpPr>
        <p:spPr>
          <a:xfrm>
            <a:off x="10492749" y="116572"/>
            <a:ext cx="131078" cy="13107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180BC78-EA0F-4D0B-85C2-CDA92F978662}"/>
              </a:ext>
            </a:extLst>
          </p:cNvPr>
          <p:cNvSpPr txBox="1"/>
          <p:nvPr/>
        </p:nvSpPr>
        <p:spPr>
          <a:xfrm>
            <a:off x="868680" y="955922"/>
            <a:ext cx="5469446" cy="246221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1600" kern="0" dirty="0">
                <a:solidFill>
                  <a:schemeClr val="accent1"/>
                </a:solidFill>
              </a:rPr>
              <a:t>SISTEM INFORMASI AKUNTANSI | KELOMPOK 2 | KELAS A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3A5D89F-7E4B-484F-80BF-9905E5C9AF78}"/>
              </a:ext>
            </a:extLst>
          </p:cNvPr>
          <p:cNvSpPr txBox="1"/>
          <p:nvPr/>
        </p:nvSpPr>
        <p:spPr>
          <a:xfrm>
            <a:off x="890455" y="2065894"/>
            <a:ext cx="1231106" cy="21544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400" dirty="0"/>
              <a:t>FIRST SEC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492D6CE-8AB5-46B4-8DCC-4CD105CE615F}"/>
              </a:ext>
            </a:extLst>
          </p:cNvPr>
          <p:cNvSpPr txBox="1"/>
          <p:nvPr/>
        </p:nvSpPr>
        <p:spPr>
          <a:xfrm>
            <a:off x="3581397" y="2065894"/>
            <a:ext cx="1484381" cy="21544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400" dirty="0"/>
              <a:t>SECOND SECTION</a:t>
            </a:r>
          </a:p>
        </p:txBody>
      </p:sp>
      <mc:AlternateContent xmlns:mc="http://schemas.openxmlformats.org/markup-compatibility/2006">
        <mc:Choice xmlns:psez="http://schemas.microsoft.com/office/powerpoint/2016/sectionzoom" Requires="psez">
          <p:graphicFrame>
            <p:nvGraphicFramePr>
              <p:cNvPr id="6" name="Section Zoom 5">
                <a:extLst>
                  <a:ext uri="{FF2B5EF4-FFF2-40B4-BE49-F238E27FC236}">
                    <a16:creationId xmlns:a16="http://schemas.microsoft.com/office/drawing/2014/main" id="{B1081732-B29C-427A-BB26-E7D808C36F7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41101422"/>
                  </p:ext>
                </p:extLst>
              </p:nvPr>
            </p:nvGraphicFramePr>
            <p:xfrm>
              <a:off x="878431" y="4472540"/>
              <a:ext cx="1463040" cy="822960"/>
            </p:xfrm>
            <a:graphic>
              <a:graphicData uri="http://schemas.microsoft.com/office/powerpoint/2016/sectionzoom">
                <psez:sectionZm>
                  <psez:sectionZmObj sectionId="{166B4E13-456F-4DE7-8043-47B198AC9D32}">
                    <psez:zmPr id="{DB5CE2D7-AF02-4156-A712-0C51BA2D760F}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6" name="Section Zoom 5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B1081732-B29C-427A-BB26-E7D808C36F7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78431" y="4472540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6" name="Slide Zoom 15">
                <a:extLst>
                  <a:ext uri="{FF2B5EF4-FFF2-40B4-BE49-F238E27FC236}">
                    <a16:creationId xmlns:a16="http://schemas.microsoft.com/office/drawing/2014/main" id="{AEE89D57-D776-411D-8896-742240C050B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872258379"/>
                  </p:ext>
                </p:extLst>
              </p:nvPr>
            </p:nvGraphicFramePr>
            <p:xfrm>
              <a:off x="890451" y="2627177"/>
              <a:ext cx="1463040" cy="822960"/>
            </p:xfrm>
            <a:graphic>
              <a:graphicData uri="http://schemas.microsoft.com/office/powerpoint/2016/slidezoom">
                <pslz:sldZm>
                  <pslz:sldZmObj sldId="258" cId="1577662384">
                    <pslz:zmPr id="{2B1AFEA9-5748-4715-A442-AC3FF983E002}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6" name="Slide Zoom 15">
                <a:extLst>
                  <a:ext uri="{FF2B5EF4-FFF2-40B4-BE49-F238E27FC236}">
                    <a16:creationId xmlns:a16="http://schemas.microsoft.com/office/drawing/2014/main" id="{AEE89D57-D776-411D-8896-742240C050B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890451" y="2627177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8" name="Slide Zoom 27">
                <a:extLst>
                  <a:ext uri="{FF2B5EF4-FFF2-40B4-BE49-F238E27FC236}">
                    <a16:creationId xmlns:a16="http://schemas.microsoft.com/office/drawing/2014/main" id="{F6A1FF00-E582-4810-B35A-AE561CB331B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48685450"/>
                  </p:ext>
                </p:extLst>
              </p:nvPr>
            </p:nvGraphicFramePr>
            <p:xfrm>
              <a:off x="890451" y="3547060"/>
              <a:ext cx="1463040" cy="822960"/>
            </p:xfrm>
            <a:graphic>
              <a:graphicData uri="http://schemas.microsoft.com/office/powerpoint/2016/slidezoom">
                <pslz:sldZm>
                  <pslz:sldZmObj sldId="259" cId="2362446551">
                    <pslz:zmPr id="{963233F1-FE5E-451D-961C-22A20AA01AD4}" transitionDur="1000">
                      <p166:blipFill xmlns:p166="http://schemas.microsoft.com/office/powerpoint/2016/6/main">
                        <a:blip r:embed="rId1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8" name="Slide Zoom 27">
                <a:extLst>
                  <a:ext uri="{FF2B5EF4-FFF2-40B4-BE49-F238E27FC236}">
                    <a16:creationId xmlns:a16="http://schemas.microsoft.com/office/drawing/2014/main" id="{F6A1FF00-E582-4810-B35A-AE561CB331B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890451" y="3547060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1" name="Section Zoom 30">
                <a:extLst>
                  <a:ext uri="{FF2B5EF4-FFF2-40B4-BE49-F238E27FC236}">
                    <a16:creationId xmlns:a16="http://schemas.microsoft.com/office/drawing/2014/main" id="{F93AEB8B-323E-2747-878C-ECBFBA96606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04943134"/>
                  </p:ext>
                </p:extLst>
              </p:nvPr>
            </p:nvGraphicFramePr>
            <p:xfrm>
              <a:off x="890451" y="2627177"/>
              <a:ext cx="1463040" cy="827606"/>
            </p:xfrm>
            <a:graphic>
              <a:graphicData uri="http://schemas.microsoft.com/office/powerpoint/2016/sectionzoom">
                <psez:sectionZm>
                  <psez:sectionZmObj sectionId="{2A7242DC-929E-4579-8F10-2B02EF80F144}">
                    <psez:zmPr id="{9F175E9F-7E08-4C45-936A-FC36706E01C1}" transitionDur="1000">
                      <p166:blipFill xmlns:p166="http://schemas.microsoft.com/office/powerpoint/2016/6/main">
                        <a:blip r:embed="rId1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760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1" name="Section Zoom 30">
                <a:hlinkClick r:id="rId18" action="ppaction://hlinksldjump"/>
                <a:extLst>
                  <a:ext uri="{FF2B5EF4-FFF2-40B4-BE49-F238E27FC236}">
                    <a16:creationId xmlns:a16="http://schemas.microsoft.com/office/drawing/2014/main" id="{F93AEB8B-323E-2747-878C-ECBFBA96606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890451" y="2627177"/>
                <a:ext cx="1463040" cy="82760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5" name="Section Zoom 34">
                <a:extLst>
                  <a:ext uri="{FF2B5EF4-FFF2-40B4-BE49-F238E27FC236}">
                    <a16:creationId xmlns:a16="http://schemas.microsoft.com/office/drawing/2014/main" id="{C4550873-E114-54BB-698F-6E7A49DE3BE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8353307"/>
                  </p:ext>
                </p:extLst>
              </p:nvPr>
            </p:nvGraphicFramePr>
            <p:xfrm>
              <a:off x="878430" y="3547061"/>
              <a:ext cx="1463040" cy="822960"/>
            </p:xfrm>
            <a:graphic>
              <a:graphicData uri="http://schemas.microsoft.com/office/powerpoint/2016/sectionzoom">
                <psez:sectionZm>
                  <psez:sectionZmObj sectionId="{C08B1841-5FDC-4A02-8341-6113A820D328}">
                    <psez:zmPr id="{AA69C1F2-2A7D-40D0-B455-2492F74A070A}" transitionDur="1000">
                      <p166:blipFill xmlns:p166="http://schemas.microsoft.com/office/powerpoint/2016/6/main">
                        <a:blip r:embed="rId2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5" name="Section Zoom 34">
                <a:hlinkClick r:id="rId21" action="ppaction://hlinksldjump"/>
                <a:extLst>
                  <a:ext uri="{FF2B5EF4-FFF2-40B4-BE49-F238E27FC236}">
                    <a16:creationId xmlns:a16="http://schemas.microsoft.com/office/drawing/2014/main" id="{C4550873-E114-54BB-698F-6E7A49DE3BE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878430" y="3547061"/>
                <a:ext cx="1463040" cy="82296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11" name="TextBox 10">
            <a:extLst>
              <a:ext uri="{FF2B5EF4-FFF2-40B4-BE49-F238E27FC236}">
                <a16:creationId xmlns:a16="http://schemas.microsoft.com/office/drawing/2014/main" id="{F5BAC720-A5BE-27C5-1570-882A36B7684F}"/>
              </a:ext>
            </a:extLst>
          </p:cNvPr>
          <p:cNvSpPr txBox="1"/>
          <p:nvPr/>
        </p:nvSpPr>
        <p:spPr>
          <a:xfrm>
            <a:off x="7580166" y="2065890"/>
            <a:ext cx="1091646" cy="21544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400"/>
              <a:t>KELOMPOK </a:t>
            </a:r>
            <a:r>
              <a:rPr lang="de-DE" altLang="de-DE" sz="1400" dirty="0"/>
              <a:t>2</a:t>
            </a:r>
          </a:p>
        </p:txBody>
      </p:sp>
      <mc:AlternateContent xmlns:mc="http://schemas.openxmlformats.org/markup-compatibility/2006">
        <mc:Choice xmlns:psez="http://schemas.microsoft.com/office/powerpoint/2016/sectionzoom" Requires="psez">
          <p:graphicFrame>
            <p:nvGraphicFramePr>
              <p:cNvPr id="14" name="Section Zoom 13">
                <a:extLst>
                  <a:ext uri="{FF2B5EF4-FFF2-40B4-BE49-F238E27FC236}">
                    <a16:creationId xmlns:a16="http://schemas.microsoft.com/office/drawing/2014/main" id="{A7BE38A7-4356-4C22-0675-417DA03810A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91969989"/>
                  </p:ext>
                </p:extLst>
              </p:nvPr>
            </p:nvGraphicFramePr>
            <p:xfrm>
              <a:off x="3583343" y="2416291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BD0AB789-343F-4F3E-AB6C-9DEB37B93BF8}">
                    <psez:zmPr id="{E2735437-8520-4F17-AA05-DF5128CF220E}" transitionDur="1000">
                      <p166:blipFill xmlns:p166="http://schemas.microsoft.com/office/powerpoint/2016/6/main">
                        <a:blip r:embed="rId2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14" name="Section Zoom 13">
                <a:hlinkClick r:id="rId24" action="ppaction://hlinksldjump"/>
                <a:extLst>
                  <a:ext uri="{FF2B5EF4-FFF2-40B4-BE49-F238E27FC236}">
                    <a16:creationId xmlns:a16="http://schemas.microsoft.com/office/drawing/2014/main" id="{A7BE38A7-4356-4C22-0675-417DA03810A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3583343" y="2416291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81D74F83-1B1D-713C-2DC7-9478C9357D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5481031"/>
              </p:ext>
            </p:extLst>
          </p:nvPr>
        </p:nvGraphicFramePr>
        <p:xfrm>
          <a:off x="7536096" y="2480901"/>
          <a:ext cx="4401915" cy="2814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8790664"/>
      </p:ext>
    </p:extLst>
  </p:cSld>
  <p:clrMapOvr>
    <a:masterClrMapping/>
  </p:clrMapOvr>
  <p:transition spd="slow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353421" y="1109436"/>
            <a:ext cx="4461158" cy="86177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FDAF1F"/>
                </a:solidFill>
              </a:rPr>
              <a:t>PEMAKAIAN TEKNIK – </a:t>
            </a:r>
          </a:p>
          <a:p>
            <a:r>
              <a:rPr lang="de-DE" altLang="de-DE" sz="2800" spc="300" dirty="0">
                <a:solidFill>
                  <a:srgbClr val="FDAF1F"/>
                </a:solidFill>
              </a:rPr>
              <a:t>TEKNIK SISTE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84FDE5B-904F-4AE7-9B55-439FCD99B1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815" t="15906" r="44062" b="2208"/>
          <a:stretch/>
        </p:blipFill>
        <p:spPr>
          <a:xfrm>
            <a:off x="-7883" y="0"/>
            <a:ext cx="2244132" cy="6844882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B5DEB48-65FA-4BC4-93CC-B4752488B56B}"/>
              </a:ext>
            </a:extLst>
          </p:cNvPr>
          <p:cNvSpPr txBox="1"/>
          <p:nvPr/>
        </p:nvSpPr>
        <p:spPr>
          <a:xfrm>
            <a:off x="644659" y="5723088"/>
            <a:ext cx="1591590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dirty="0"/>
              <a:t>25</a:t>
            </a:r>
            <a:r>
              <a:rPr lang="de-DE" altLang="de-DE" sz="4400" dirty="0"/>
              <a:t>%</a:t>
            </a:r>
            <a:endParaRPr lang="de-DE" altLang="de-DE" sz="6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164CF7-1A63-40C2-B2E6-74365B04AF9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970" r="63135"/>
          <a:stretch/>
        </p:blipFill>
        <p:spPr>
          <a:xfrm>
            <a:off x="2236249" y="0"/>
            <a:ext cx="2236254" cy="6858000"/>
          </a:xfrm>
          <a:prstGeom prst="rect">
            <a:avLst/>
          </a:prstGeom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5E635C0-0A4F-4FF1-AC1C-6F87AFF4380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8589" r="32026"/>
          <a:stretch/>
        </p:blipFill>
        <p:spPr>
          <a:xfrm>
            <a:off x="4472503" y="0"/>
            <a:ext cx="2236254" cy="6858000"/>
          </a:xfrm>
          <a:prstGeom prst="rect">
            <a:avLst/>
          </a:prstGeom>
          <a:ln>
            <a:noFill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3330CA1-E163-4DBE-8B55-0B4AFDF403A3}"/>
              </a:ext>
            </a:extLst>
          </p:cNvPr>
          <p:cNvSpPr txBox="1"/>
          <p:nvPr/>
        </p:nvSpPr>
        <p:spPr>
          <a:xfrm>
            <a:off x="3114952" y="5723088"/>
            <a:ext cx="1357551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dirty="0"/>
              <a:t>11</a:t>
            </a:r>
            <a:r>
              <a:rPr lang="de-DE" altLang="de-DE" sz="4400" dirty="0"/>
              <a:t>%</a:t>
            </a:r>
            <a:endParaRPr lang="de-DE" altLang="de-DE" sz="60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8DA940D-F95D-4E8D-BA9E-C4BAAFC44EE6}"/>
              </a:ext>
            </a:extLst>
          </p:cNvPr>
          <p:cNvSpPr txBox="1"/>
          <p:nvPr/>
        </p:nvSpPr>
        <p:spPr>
          <a:xfrm>
            <a:off x="5117167" y="5723088"/>
            <a:ext cx="1591590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dirty="0"/>
              <a:t>83</a:t>
            </a:r>
            <a:r>
              <a:rPr lang="de-DE" altLang="de-DE" sz="4400" dirty="0"/>
              <a:t>%</a:t>
            </a:r>
            <a:endParaRPr lang="de-DE" altLang="de-DE" sz="60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02AE25-AE6C-41A7-834C-CD89901260F8}"/>
              </a:ext>
            </a:extLst>
          </p:cNvPr>
          <p:cNvSpPr txBox="1"/>
          <p:nvPr/>
        </p:nvSpPr>
        <p:spPr>
          <a:xfrm>
            <a:off x="7353421" y="2749850"/>
            <a:ext cx="105798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1"/>
                </a:solidFill>
              </a:rPr>
              <a:t>Sub 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BF2DC3-8204-435C-A332-8E1567BA1C88}"/>
              </a:ext>
            </a:extLst>
          </p:cNvPr>
          <p:cNvSpPr txBox="1"/>
          <p:nvPr/>
        </p:nvSpPr>
        <p:spPr>
          <a:xfrm>
            <a:off x="7353421" y="3244334"/>
            <a:ext cx="4620254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nggunaan Teknik – teknik Sistem dalam Audit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CFED16D-8F5D-4D29-A55B-5B4B7626FA4B}"/>
              </a:ext>
            </a:extLst>
          </p:cNvPr>
          <p:cNvSpPr txBox="1"/>
          <p:nvPr/>
        </p:nvSpPr>
        <p:spPr>
          <a:xfrm>
            <a:off x="7353421" y="4759596"/>
            <a:ext cx="111248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EBBADB"/>
                </a:solidFill>
              </a:rPr>
              <a:t>Sub 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97EFD4-6489-4164-AB76-879EBB281636}"/>
              </a:ext>
            </a:extLst>
          </p:cNvPr>
          <p:cNvSpPr txBox="1"/>
          <p:nvPr/>
        </p:nvSpPr>
        <p:spPr>
          <a:xfrm>
            <a:off x="7353421" y="5254080"/>
            <a:ext cx="4620254" cy="110799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nggunaan Teknik – Teknik Sistem dalam Pengembangan Sistem</a:t>
            </a:r>
          </a:p>
        </p:txBody>
      </p:sp>
      <p:sp>
        <p:nvSpPr>
          <p:cNvPr id="6" name="Footnote">
            <a:extLst>
              <a:ext uri="{FF2B5EF4-FFF2-40B4-BE49-F238E27FC236}">
                <a16:creationId xmlns:a16="http://schemas.microsoft.com/office/drawing/2014/main" id="{52AA4BB8-A120-4723-9DEB-5E915880E440}"/>
              </a:ext>
            </a:extLst>
          </p:cNvPr>
          <p:cNvSpPr/>
          <p:nvPr/>
        </p:nvSpPr>
        <p:spPr>
          <a:xfrm>
            <a:off x="7353421" y="412340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3574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353421" y="1109436"/>
            <a:ext cx="3169436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/>
              <a:t>DEFINISI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353421" y="1869168"/>
            <a:ext cx="4309884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dirty="0"/>
              <a:t>Teknik - teknik sistem merupakan alat yang digunakan dalam menganalisis, merancang, dan mendokumentasikan sistem dan sub-sub sistem yang berkaitan. Teknik sistem sangat penting bagi auditor internal dan eksternal, serta para personel sistem dalam pengembangan sistem informasi.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72D89D-4F75-40CD-A4F8-584A9B16A42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048" t="7745" r="32690" b="10369"/>
          <a:stretch/>
        </p:blipFill>
        <p:spPr>
          <a:xfrm>
            <a:off x="-7883" y="13119"/>
            <a:ext cx="6716640" cy="6844882"/>
          </a:xfrm>
          <a:prstGeom prst="rect">
            <a:avLst/>
          </a:prstGeom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0B278E0-B22E-401E-A5EB-A34D5D274BC3}"/>
              </a:ext>
            </a:extLst>
          </p:cNvPr>
          <p:cNvSpPr txBox="1"/>
          <p:nvPr/>
        </p:nvSpPr>
        <p:spPr>
          <a:xfrm>
            <a:off x="7183923" y="5723088"/>
            <a:ext cx="1591590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dirty="0"/>
              <a:t>25</a:t>
            </a:r>
            <a:r>
              <a:rPr lang="de-DE" altLang="de-DE" sz="4400" dirty="0"/>
              <a:t>%</a:t>
            </a:r>
            <a:endParaRPr lang="de-DE" altLang="de-DE" sz="6000" dirty="0"/>
          </a:p>
        </p:txBody>
      </p:sp>
      <p:sp>
        <p:nvSpPr>
          <p:cNvPr id="11" name="Footnote">
            <a:extLst>
              <a:ext uri="{FF2B5EF4-FFF2-40B4-BE49-F238E27FC236}">
                <a16:creationId xmlns:a16="http://schemas.microsoft.com/office/drawing/2014/main" id="{95510D65-09B5-4F73-9E19-9A5475732DDC}"/>
              </a:ext>
            </a:extLst>
          </p:cNvPr>
          <p:cNvSpPr/>
          <p:nvPr/>
        </p:nvSpPr>
        <p:spPr>
          <a:xfrm>
            <a:off x="7353421" y="412340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7525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95214" y="746586"/>
            <a:ext cx="6719596" cy="86177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/>
              <a:t>Sub 1 | PENGGUNAAN TEKNIK – </a:t>
            </a:r>
          </a:p>
          <a:p>
            <a:r>
              <a:rPr lang="de-DE" altLang="de-DE" sz="2800" spc="300" dirty="0"/>
              <a:t>TEKNIK SISTEM DALAM AUDIT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5214" y="1869168"/>
            <a:ext cx="6056086" cy="33239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/>
              <a:t>Penugasan auditing dibagi menjadi dua komponen dasar. </a:t>
            </a:r>
          </a:p>
          <a:p>
            <a:r>
              <a:rPr lang="de-DE" altLang="de-DE" sz="2400" dirty="0"/>
              <a:t>Pertama yaitu audit intern yang bertujuan untuk menetapkan tingkat keandalan struktur pengendalian intern dalam organisasi dan pengujian ketaatan. </a:t>
            </a:r>
            <a:br>
              <a:rPr lang="de-DE" altLang="de-DE" sz="2400" dirty="0"/>
            </a:br>
            <a:endParaRPr lang="de-DE" altLang="de-DE" sz="2400" dirty="0"/>
          </a:p>
          <a:p>
            <a:r>
              <a:rPr lang="de-DE" altLang="de-DE" sz="2400" dirty="0"/>
              <a:t>Kedua yaitu audit laporan keuangan, meliputi pengujian substansif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B5DEB48-65FA-4BC4-93CC-B4752488B56B}"/>
              </a:ext>
            </a:extLst>
          </p:cNvPr>
          <p:cNvSpPr txBox="1"/>
          <p:nvPr/>
        </p:nvSpPr>
        <p:spPr>
          <a:xfrm>
            <a:off x="9383226" y="817047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bg1"/>
                </a:solidFill>
              </a:rPr>
              <a:t>75%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62121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008" t="16550" r="41229" b="2029"/>
          <a:stretch/>
        </p:blipFill>
        <p:spPr>
          <a:xfrm>
            <a:off x="-7364649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06950DDC-2EEE-4C41-BF18-6FABE1678492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A50CB1-726A-4F7E-A67D-FC5B3BD20DA1}"/>
              </a:ext>
            </a:extLst>
          </p:cNvPr>
          <p:cNvSpPr txBox="1"/>
          <p:nvPr/>
        </p:nvSpPr>
        <p:spPr>
          <a:xfrm>
            <a:off x="-8380656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203504" y="1109436"/>
            <a:ext cx="680282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5"/>
                </a:solidFill>
              </a:rPr>
              <a:t>EVALUASI PENGENDALIAN INTER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056086" cy="369331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 err="1"/>
              <a:t>Dalam</a:t>
            </a:r>
            <a:r>
              <a:rPr lang="en-US" sz="2400" dirty="0"/>
              <a:t> </a:t>
            </a:r>
            <a:r>
              <a:rPr lang="en-US" sz="2400" dirty="0" err="1"/>
              <a:t>mengevaluasi</a:t>
            </a:r>
            <a:r>
              <a:rPr lang="en-US" sz="2400" dirty="0"/>
              <a:t> </a:t>
            </a:r>
            <a:r>
              <a:rPr lang="en-US" sz="2400" dirty="0" err="1"/>
              <a:t>pengendalian</a:t>
            </a:r>
            <a:r>
              <a:rPr lang="en-US" sz="2400" dirty="0"/>
              <a:t> intern, auditor </a:t>
            </a:r>
            <a:r>
              <a:rPr lang="en-US" sz="2400" dirty="0" err="1"/>
              <a:t>umumnya</a:t>
            </a:r>
            <a:r>
              <a:rPr lang="en-US" sz="2400" dirty="0"/>
              <a:t> </a:t>
            </a:r>
            <a:r>
              <a:rPr lang="en-US" sz="2400" dirty="0" err="1"/>
              <a:t>memperhatikan</a:t>
            </a:r>
            <a:r>
              <a:rPr lang="en-US" sz="2400" dirty="0"/>
              <a:t> </a:t>
            </a:r>
            <a:r>
              <a:rPr lang="en-US" sz="2400" dirty="0" err="1"/>
              <a:t>arus</a:t>
            </a:r>
            <a:r>
              <a:rPr lang="en-US" sz="2400" dirty="0"/>
              <a:t> </a:t>
            </a:r>
            <a:r>
              <a:rPr lang="en-US" sz="2400" dirty="0" err="1"/>
              <a:t>pemrosesan</a:t>
            </a:r>
            <a:r>
              <a:rPr lang="en-US" sz="2400" dirty="0"/>
              <a:t> dan </a:t>
            </a:r>
            <a:r>
              <a:rPr lang="en-US" sz="2400" dirty="0" err="1"/>
              <a:t>distribusi</a:t>
            </a:r>
            <a:r>
              <a:rPr lang="en-US" sz="2400" dirty="0"/>
              <a:t> </a:t>
            </a:r>
            <a:r>
              <a:rPr lang="en-US" sz="2400" dirty="0" err="1"/>
              <a:t>dokumen-dokumen</a:t>
            </a:r>
            <a:r>
              <a:rPr lang="en-US" sz="2400" dirty="0"/>
              <a:t> </a:t>
            </a:r>
            <a:r>
              <a:rPr lang="en-US" sz="2400" dirty="0" err="1"/>
              <a:t>dalam</a:t>
            </a:r>
            <a:r>
              <a:rPr lang="en-US" sz="2400" dirty="0"/>
              <a:t> </a:t>
            </a:r>
            <a:r>
              <a:rPr lang="en-US" sz="2400" dirty="0" err="1"/>
              <a:t>sistem</a:t>
            </a:r>
            <a:r>
              <a:rPr lang="en-US" sz="2400" dirty="0"/>
              <a:t> </a:t>
            </a:r>
            <a:r>
              <a:rPr lang="en-US" sz="2400" dirty="0" err="1"/>
              <a:t>aplikasi</a:t>
            </a:r>
            <a:r>
              <a:rPr lang="en-US" sz="2400" dirty="0"/>
              <a:t>.</a:t>
            </a:r>
            <a:br>
              <a:rPr lang="en-US" sz="2400" dirty="0"/>
            </a:br>
            <a:endParaRPr lang="en-US" sz="2400" dirty="0"/>
          </a:p>
          <a:p>
            <a:r>
              <a:rPr lang="en-US" sz="2400" dirty="0" err="1"/>
              <a:t>Beberapa</a:t>
            </a:r>
            <a:r>
              <a:rPr lang="en-US" sz="2400" dirty="0"/>
              <a:t> </a:t>
            </a:r>
            <a:r>
              <a:rPr lang="en-US" sz="2400" dirty="0" err="1"/>
              <a:t>teknik</a:t>
            </a:r>
            <a:r>
              <a:rPr lang="en-US" sz="2400" dirty="0"/>
              <a:t> </a:t>
            </a:r>
            <a:r>
              <a:rPr lang="en-US" sz="2400" dirty="0" err="1"/>
              <a:t>sistem</a:t>
            </a:r>
            <a:r>
              <a:rPr lang="en-US" sz="2400" dirty="0"/>
              <a:t> </a:t>
            </a:r>
            <a:r>
              <a:rPr lang="en-US" sz="2400" dirty="0" err="1"/>
              <a:t>misalnya</a:t>
            </a:r>
            <a:r>
              <a:rPr lang="en-US" sz="2400" dirty="0"/>
              <a:t> </a:t>
            </a:r>
            <a:r>
              <a:rPr lang="en-US" sz="2400" dirty="0" err="1"/>
              <a:t>bagan</a:t>
            </a:r>
            <a:r>
              <a:rPr lang="en-US" sz="2400" dirty="0"/>
              <a:t> </a:t>
            </a:r>
            <a:r>
              <a:rPr lang="en-US" sz="2400" dirty="0" err="1"/>
              <a:t>arus</a:t>
            </a:r>
            <a:r>
              <a:rPr lang="en-US" sz="2400" dirty="0"/>
              <a:t> </a:t>
            </a:r>
            <a:r>
              <a:rPr lang="en-US" sz="2400" dirty="0" err="1"/>
              <a:t>analitis</a:t>
            </a:r>
            <a:r>
              <a:rPr lang="en-US" sz="2400" dirty="0"/>
              <a:t>, </a:t>
            </a:r>
            <a:r>
              <a:rPr lang="en-US" sz="2400" dirty="0" err="1"/>
              <a:t>bagan</a:t>
            </a:r>
            <a:r>
              <a:rPr lang="en-US" sz="2400" dirty="0"/>
              <a:t> </a:t>
            </a:r>
            <a:r>
              <a:rPr lang="en-US" sz="2400" dirty="0" err="1"/>
              <a:t>arus</a:t>
            </a:r>
            <a:r>
              <a:rPr lang="en-US" sz="2400" dirty="0"/>
              <a:t> </a:t>
            </a:r>
            <a:r>
              <a:rPr lang="en-US" sz="2400" dirty="0" err="1"/>
              <a:t>dokumen</a:t>
            </a:r>
            <a:r>
              <a:rPr lang="en-US" sz="2400" dirty="0"/>
              <a:t>, dan </a:t>
            </a:r>
            <a:r>
              <a:rPr lang="en-US" sz="2400" dirty="0" err="1"/>
              <a:t>bagan</a:t>
            </a:r>
            <a:r>
              <a:rPr lang="en-US" sz="2400" dirty="0"/>
              <a:t> </a:t>
            </a:r>
            <a:r>
              <a:rPr lang="en-US" sz="2400" dirty="0" err="1"/>
              <a:t>distribusi</a:t>
            </a:r>
            <a:r>
              <a:rPr lang="en-US" sz="2400" dirty="0"/>
              <a:t> </a:t>
            </a:r>
            <a:r>
              <a:rPr lang="en-US" sz="2400" dirty="0" err="1"/>
              <a:t>formulir</a:t>
            </a:r>
            <a:r>
              <a:rPr lang="en-US" sz="2400" dirty="0"/>
              <a:t> </a:t>
            </a:r>
            <a:r>
              <a:rPr lang="en-US" sz="2400" dirty="0" err="1"/>
              <a:t>dapat</a:t>
            </a:r>
            <a:r>
              <a:rPr lang="en-US" sz="2400" dirty="0"/>
              <a:t> </a:t>
            </a:r>
            <a:r>
              <a:rPr lang="en-US" sz="2400" dirty="0" err="1"/>
              <a:t>digunakan</a:t>
            </a:r>
            <a:r>
              <a:rPr lang="en-US" sz="2400" dirty="0"/>
              <a:t> oleh auditor </a:t>
            </a:r>
            <a:r>
              <a:rPr lang="en-US" sz="2400" dirty="0" err="1"/>
              <a:t>untuk</a:t>
            </a:r>
            <a:r>
              <a:rPr lang="en-US" sz="2400" dirty="0"/>
              <a:t> </a:t>
            </a:r>
            <a:r>
              <a:rPr lang="en-US" sz="2400" dirty="0" err="1"/>
              <a:t>menganalisis</a:t>
            </a:r>
            <a:r>
              <a:rPr lang="en-US" sz="2400" dirty="0"/>
              <a:t> </a:t>
            </a:r>
            <a:r>
              <a:rPr lang="en-US" sz="2400" dirty="0" err="1"/>
              <a:t>distribusi</a:t>
            </a:r>
            <a:r>
              <a:rPr lang="en-US" sz="2400" dirty="0"/>
              <a:t> </a:t>
            </a:r>
            <a:r>
              <a:rPr lang="en-US" sz="2400" dirty="0" err="1"/>
              <a:t>dokumen</a:t>
            </a:r>
            <a:r>
              <a:rPr lang="en-US" sz="2400" dirty="0"/>
              <a:t> </a:t>
            </a:r>
            <a:r>
              <a:rPr lang="en-US" sz="2400" dirty="0" err="1"/>
              <a:t>dalam</a:t>
            </a:r>
            <a:r>
              <a:rPr lang="en-US" sz="2400" dirty="0"/>
              <a:t> </a:t>
            </a:r>
            <a:r>
              <a:rPr lang="en-US" sz="2400" dirty="0" err="1"/>
              <a:t>sistem</a:t>
            </a:r>
            <a:r>
              <a:rPr lang="en-US" sz="2400" dirty="0"/>
              <a:t>.</a:t>
            </a:r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61413C-0C96-47F1-9D1F-4D0C70AD3634}"/>
              </a:ext>
            </a:extLst>
          </p:cNvPr>
          <p:cNvSpPr txBox="1"/>
          <p:nvPr/>
        </p:nvSpPr>
        <p:spPr>
          <a:xfrm>
            <a:off x="13273550" y="817047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bg1"/>
                </a:solidFill>
              </a:rPr>
              <a:t>75%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4C31449-A6DD-47DD-912E-64882D9E16C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008" t="16550" r="41229" b="2029"/>
          <a:stretch/>
        </p:blipFill>
        <p:spPr>
          <a:xfrm>
            <a:off x="558207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5C58B569-9D4A-4F4D-B6F6-728FC502B3CB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FCB952-1BC3-4938-A049-E3ECA142A2D2}"/>
              </a:ext>
            </a:extLst>
          </p:cNvPr>
          <p:cNvSpPr txBox="1"/>
          <p:nvPr/>
        </p:nvSpPr>
        <p:spPr>
          <a:xfrm>
            <a:off x="386741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270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28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4592091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079B84"/>
                </a:solidFill>
              </a:rPr>
              <a:t>PENGUJIAN KETAATAN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056086" cy="184665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 err="1"/>
              <a:t>Pengujian</a:t>
            </a:r>
            <a:r>
              <a:rPr lang="en-US" sz="2400" dirty="0"/>
              <a:t> </a:t>
            </a:r>
            <a:r>
              <a:rPr lang="en-US" sz="2400" dirty="0" err="1"/>
              <a:t>Ketaatan</a:t>
            </a:r>
            <a:r>
              <a:rPr lang="en-US" sz="2400" dirty="0"/>
              <a:t> di </a:t>
            </a:r>
            <a:r>
              <a:rPr lang="en-US" sz="2400" dirty="0" err="1"/>
              <a:t>lakukan</a:t>
            </a:r>
            <a:r>
              <a:rPr lang="en-US" sz="2400" dirty="0"/>
              <a:t> oleh auditor </a:t>
            </a:r>
            <a:r>
              <a:rPr lang="en-US" sz="2400" dirty="0" err="1"/>
              <a:t>untuk</a:t>
            </a:r>
            <a:r>
              <a:rPr lang="en-US" sz="2400" dirty="0"/>
              <a:t> </a:t>
            </a:r>
            <a:r>
              <a:rPr lang="en-US" sz="2400" dirty="0" err="1"/>
              <a:t>memastikan</a:t>
            </a:r>
            <a:r>
              <a:rPr lang="en-US" sz="2400" dirty="0"/>
              <a:t> </a:t>
            </a:r>
            <a:r>
              <a:rPr lang="en-US" sz="2400" dirty="0" err="1"/>
              <a:t>eksistensi</a:t>
            </a:r>
            <a:r>
              <a:rPr lang="en-US" sz="2400" dirty="0"/>
              <a:t>, </a:t>
            </a:r>
            <a:r>
              <a:rPr lang="en-US" sz="2400" dirty="0" err="1"/>
              <a:t>menilai</a:t>
            </a:r>
            <a:r>
              <a:rPr lang="en-US" sz="2400" dirty="0"/>
              <a:t> </a:t>
            </a:r>
            <a:r>
              <a:rPr lang="en-US" sz="2400" dirty="0" err="1"/>
              <a:t>efektivitas</a:t>
            </a:r>
            <a:r>
              <a:rPr lang="en-US" sz="2400" dirty="0"/>
              <a:t> dan </a:t>
            </a:r>
            <a:r>
              <a:rPr lang="en-US" sz="2400" dirty="0" err="1"/>
              <a:t>menguji</a:t>
            </a:r>
            <a:r>
              <a:rPr lang="en-US" sz="2400" dirty="0"/>
              <a:t> </a:t>
            </a:r>
            <a:r>
              <a:rPr lang="en-US" sz="2400" dirty="0" err="1"/>
              <a:t>kesinambungan</a:t>
            </a:r>
            <a:r>
              <a:rPr lang="en-US" sz="2400" dirty="0"/>
              <a:t> </a:t>
            </a:r>
            <a:r>
              <a:rPr lang="en-US" sz="2400" dirty="0" err="1"/>
              <a:t>operasi</a:t>
            </a:r>
            <a:r>
              <a:rPr lang="en-US" sz="2400" dirty="0"/>
              <a:t> </a:t>
            </a:r>
            <a:r>
              <a:rPr lang="en-US" sz="2400" dirty="0" err="1"/>
              <a:t>pengendalian</a:t>
            </a:r>
            <a:r>
              <a:rPr lang="en-US" sz="2400" dirty="0"/>
              <a:t> intern yang </a:t>
            </a:r>
            <a:r>
              <a:rPr lang="en-US" sz="2400" dirty="0" err="1"/>
              <a:t>diandalkan</a:t>
            </a:r>
            <a:r>
              <a:rPr lang="en-US" sz="2400" dirty="0"/>
              <a:t> oleh </a:t>
            </a:r>
            <a:r>
              <a:rPr lang="en-US" sz="2400" dirty="0" err="1"/>
              <a:t>organisasi</a:t>
            </a:r>
            <a:r>
              <a:rPr lang="en-US" sz="2400" dirty="0"/>
              <a:t>.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61413C-0C96-47F1-9D1F-4D0C70AD3634}"/>
              </a:ext>
            </a:extLst>
          </p:cNvPr>
          <p:cNvSpPr txBox="1"/>
          <p:nvPr/>
        </p:nvSpPr>
        <p:spPr>
          <a:xfrm>
            <a:off x="13273550" y="817047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bg1"/>
                </a:solidFill>
              </a:rPr>
              <a:t>75%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130" t="24550" r="50815" b="9259"/>
          <a:stretch/>
        </p:blipFill>
        <p:spPr>
          <a:xfrm>
            <a:off x="484536" y="1683655"/>
            <a:ext cx="4531902" cy="4539346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A6C80493-CC48-49B0-810A-422E497551EF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B5DEB48-65FA-4BC4-93CC-B4752488B56B}"/>
              </a:ext>
            </a:extLst>
          </p:cNvPr>
          <p:cNvSpPr txBox="1"/>
          <p:nvPr/>
        </p:nvSpPr>
        <p:spPr>
          <a:xfrm>
            <a:off x="386741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24296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C4D56A-FDA4-8BAF-56E7-ADD770019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65B217F-8BAE-D5AD-A6AE-90C23935EB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65B217F-8BAE-D5AD-A6AE-90C23935EB8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1613E33-C4BA-F5BA-0896-A90A3BF4A286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13200C-F3F4-E7B2-E124-F862AB238352}"/>
              </a:ext>
            </a:extLst>
          </p:cNvPr>
          <p:cNvSpPr txBox="1"/>
          <p:nvPr/>
        </p:nvSpPr>
        <p:spPr>
          <a:xfrm>
            <a:off x="595214" y="1152985"/>
            <a:ext cx="293997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/>
              <a:t>KERTAS KERJA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13FB46-B136-BA44-5FB1-514DBEE9FC14}"/>
              </a:ext>
            </a:extLst>
          </p:cNvPr>
          <p:cNvSpPr txBox="1"/>
          <p:nvPr/>
        </p:nvSpPr>
        <p:spPr>
          <a:xfrm>
            <a:off x="595214" y="1869168"/>
            <a:ext cx="6056086" cy="33239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/>
              <a:t>Kertas kerja adalah catatan yang dipegang auditor mengenai prosedur dan pengujian yang diterapkan, informasi yang didapatkan, dan kesimpulan yang ditarik selama melakukan penugasan audit. Auditor menggunakan teknik - teknik sistem untuk mendokumentasikan dan menganalisis isi kertas kerja.</a:t>
            </a:r>
          </a:p>
          <a:p>
            <a:endParaRPr lang="de-DE" altLang="de-DE" sz="2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4D1DCD3-B3E6-E2A2-2D7A-6D4483699904}"/>
              </a:ext>
            </a:extLst>
          </p:cNvPr>
          <p:cNvSpPr txBox="1"/>
          <p:nvPr/>
        </p:nvSpPr>
        <p:spPr>
          <a:xfrm>
            <a:off x="9383226" y="817047"/>
            <a:ext cx="1683474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bg1"/>
                </a:solidFill>
              </a:rPr>
              <a:t>55%</a:t>
            </a:r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32452699-2FF8-E4AB-7A72-7647108E7288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495165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45242A66-B493-5CDF-D385-9C554936DDD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E4BB047C-2BEA-2D5E-D6B5-009B6717F9DB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rgbClr val="495165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8311CE-E206-F145-14FD-2784227AB7A9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rgbClr val="F0831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0DCBBFC-DFDE-EB6C-0D05-23631DBC706D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CDF0CF-7A66-6DFD-8906-B804B19F27C0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356A7DE6-6A36-6756-2CAB-90201E08153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008" t="16550" r="41229" b="2029"/>
          <a:stretch/>
        </p:blipFill>
        <p:spPr>
          <a:xfrm>
            <a:off x="-7364649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Footnote">
            <a:extLst>
              <a:ext uri="{FF2B5EF4-FFF2-40B4-BE49-F238E27FC236}">
                <a16:creationId xmlns:a16="http://schemas.microsoft.com/office/drawing/2014/main" id="{95C57F9D-1A4F-E49B-B2F2-33CD0C6A5430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D72C379-0A9D-E7DC-58A3-46EB3E50C867}"/>
              </a:ext>
            </a:extLst>
          </p:cNvPr>
          <p:cNvSpPr txBox="1"/>
          <p:nvPr/>
        </p:nvSpPr>
        <p:spPr>
          <a:xfrm>
            <a:off x="-8380656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B811A5B-9683-ACD0-4BFF-CD4C499A8F0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31506" y="1701218"/>
            <a:ext cx="4391276" cy="4474610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14775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ABCCC4-933C-0066-03E7-F5C78B9027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DCADD93-76A7-F28C-77E5-0BF917B53F88}"/>
              </a:ext>
            </a:extLst>
          </p:cNvPr>
          <p:cNvCxnSpPr>
            <a:cxnSpLocks/>
          </p:cNvCxnSpPr>
          <p:nvPr/>
        </p:nvCxnSpPr>
        <p:spPr>
          <a:xfrm>
            <a:off x="2680402" y="3468069"/>
            <a:ext cx="9511598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Picture 68" descr="A person standing next to a backpack&#10;&#10;Description automatically generated with low confidence">
            <a:extLst>
              <a:ext uri="{FF2B5EF4-FFF2-40B4-BE49-F238E27FC236}">
                <a16:creationId xmlns:a16="http://schemas.microsoft.com/office/drawing/2014/main" id="{13C6C088-F26D-5DE4-DD53-C20DD055FB3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26" t="1365" r="37362" b="2095"/>
          <a:stretch/>
        </p:blipFill>
        <p:spPr>
          <a:xfrm rot="12540976">
            <a:off x="-1266030" y="1769280"/>
            <a:ext cx="874912" cy="1869624"/>
          </a:xfrm>
          <a:custGeom>
            <a:avLst/>
            <a:gdLst>
              <a:gd name="connsiteX0" fmla="*/ 595292 w 874912"/>
              <a:gd name="connsiteY0" fmla="*/ 0 h 1869624"/>
              <a:gd name="connsiteX1" fmla="*/ 630050 w 874912"/>
              <a:gd name="connsiteY1" fmla="*/ 0 h 1869624"/>
              <a:gd name="connsiteX2" fmla="*/ 725835 w 874912"/>
              <a:gd name="connsiteY2" fmla="*/ 209211 h 1869624"/>
              <a:gd name="connsiteX3" fmla="*/ 693430 w 874912"/>
              <a:gd name="connsiteY3" fmla="*/ 1869624 h 1869624"/>
              <a:gd name="connsiteX4" fmla="*/ 61342 w 874912"/>
              <a:gd name="connsiteY4" fmla="*/ 1593703 h 1869624"/>
              <a:gd name="connsiteX5" fmla="*/ 87374 w 874912"/>
              <a:gd name="connsiteY5" fmla="*/ 1534048 h 1869624"/>
              <a:gd name="connsiteX6" fmla="*/ 62947 w 874912"/>
              <a:gd name="connsiteY6" fmla="*/ 441931 h 1869624"/>
              <a:gd name="connsiteX7" fmla="*/ 0 w 874912"/>
              <a:gd name="connsiteY7" fmla="*/ 314475 h 1869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4912" h="1869624">
                <a:moveTo>
                  <a:pt x="595292" y="0"/>
                </a:moveTo>
                <a:lnTo>
                  <a:pt x="630050" y="0"/>
                </a:lnTo>
                <a:lnTo>
                  <a:pt x="725835" y="209211"/>
                </a:lnTo>
                <a:cubicBezTo>
                  <a:pt x="934100" y="741983"/>
                  <a:pt x="924930" y="1339298"/>
                  <a:pt x="693430" y="1869624"/>
                </a:cubicBezTo>
                <a:lnTo>
                  <a:pt x="61342" y="1593703"/>
                </a:lnTo>
                <a:lnTo>
                  <a:pt x="87374" y="1534048"/>
                </a:lnTo>
                <a:cubicBezTo>
                  <a:pt x="220133" y="1184271"/>
                  <a:pt x="214188" y="790993"/>
                  <a:pt x="62947" y="441931"/>
                </a:cubicBezTo>
                <a:lnTo>
                  <a:pt x="0" y="314475"/>
                </a:lnTo>
                <a:close/>
              </a:path>
            </a:pathLst>
          </a:custGeom>
        </p:spPr>
      </p:pic>
      <p:pic>
        <p:nvPicPr>
          <p:cNvPr id="67" name="Picture 66" descr="A picture containing underwater, diving, coral reef, organism&#10;&#10;Description automatically generated">
            <a:extLst>
              <a:ext uri="{FF2B5EF4-FFF2-40B4-BE49-F238E27FC236}">
                <a16:creationId xmlns:a16="http://schemas.microsoft.com/office/drawing/2014/main" id="{B146F438-4423-75AA-A849-4DBCD640F73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75" t="414" r="50149" b="6697"/>
          <a:stretch/>
        </p:blipFill>
        <p:spPr>
          <a:xfrm rot="15745348">
            <a:off x="-17912" y="826766"/>
            <a:ext cx="886132" cy="1880822"/>
          </a:xfrm>
          <a:custGeom>
            <a:avLst/>
            <a:gdLst>
              <a:gd name="connsiteX0" fmla="*/ 598352 w 886132"/>
              <a:gd name="connsiteY0" fmla="*/ 0 h 1880822"/>
              <a:gd name="connsiteX1" fmla="*/ 733462 w 886132"/>
              <a:gd name="connsiteY1" fmla="*/ 1880822 h 1880822"/>
              <a:gd name="connsiteX2" fmla="*/ 83309 w 886132"/>
              <a:gd name="connsiteY2" fmla="*/ 1623344 h 1880822"/>
              <a:gd name="connsiteX3" fmla="*/ 118493 w 886132"/>
              <a:gd name="connsiteY3" fmla="*/ 1534532 h 1880822"/>
              <a:gd name="connsiteX4" fmla="*/ 191706 w 886132"/>
              <a:gd name="connsiteY4" fmla="*/ 963376 h 1880822"/>
              <a:gd name="connsiteX5" fmla="*/ 37593 w 886132"/>
              <a:gd name="connsiteY5" fmla="*/ 408553 h 1880822"/>
              <a:gd name="connsiteX6" fmla="*/ 0 w 886132"/>
              <a:gd name="connsiteY6" fmla="*/ 342991 h 1880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6132" h="1880822">
                <a:moveTo>
                  <a:pt x="598352" y="0"/>
                </a:moveTo>
                <a:cubicBezTo>
                  <a:pt x="927225" y="573724"/>
                  <a:pt x="976953" y="1265981"/>
                  <a:pt x="733462" y="1880822"/>
                </a:cubicBezTo>
                <a:lnTo>
                  <a:pt x="83309" y="1623344"/>
                </a:lnTo>
                <a:lnTo>
                  <a:pt x="118493" y="1534532"/>
                </a:lnTo>
                <a:cubicBezTo>
                  <a:pt x="179250" y="1356233"/>
                  <a:pt x="206054" y="1163077"/>
                  <a:pt x="191706" y="963376"/>
                </a:cubicBezTo>
                <a:cubicBezTo>
                  <a:pt x="177358" y="763675"/>
                  <a:pt x="123216" y="576334"/>
                  <a:pt x="37593" y="408553"/>
                </a:cubicBezTo>
                <a:lnTo>
                  <a:pt x="0" y="342991"/>
                </a:lnTo>
                <a:close/>
              </a:path>
            </a:pathLst>
          </a:custGeom>
        </p:spPr>
      </p:pic>
      <p:pic>
        <p:nvPicPr>
          <p:cNvPr id="64" name="Picture 63" descr="A grey fox sitting on a log&#10;&#10;Description automatically generated with medium confidence">
            <a:extLst>
              <a:ext uri="{FF2B5EF4-FFF2-40B4-BE49-F238E27FC236}">
                <a16:creationId xmlns:a16="http://schemas.microsoft.com/office/drawing/2014/main" id="{4796DACF-A465-8F5E-AC06-381E97B592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24" t="-17" r="5530" b="580"/>
          <a:stretch/>
        </p:blipFill>
        <p:spPr>
          <a:xfrm rot="18956927">
            <a:off x="1471026" y="1182445"/>
            <a:ext cx="922163" cy="1874659"/>
          </a:xfrm>
          <a:custGeom>
            <a:avLst/>
            <a:gdLst>
              <a:gd name="connsiteX0" fmla="*/ 593530 w 922163"/>
              <a:gd name="connsiteY0" fmla="*/ 0 h 1874659"/>
              <a:gd name="connsiteX1" fmla="*/ 797423 w 922163"/>
              <a:gd name="connsiteY1" fmla="*/ 1874659 h 1874659"/>
              <a:gd name="connsiteX2" fmla="*/ 112453 w 922163"/>
              <a:gd name="connsiteY2" fmla="*/ 1632004 h 1874659"/>
              <a:gd name="connsiteX3" fmla="*/ 113897 w 922163"/>
              <a:gd name="connsiteY3" fmla="*/ 1628715 h 1874659"/>
              <a:gd name="connsiteX4" fmla="*/ 23880 w 922163"/>
              <a:gd name="connsiteY4" fmla="*/ 408092 h 1874659"/>
              <a:gd name="connsiteX5" fmla="*/ 0 w 922163"/>
              <a:gd name="connsiteY5" fmla="*/ 369749 h 1874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2163" h="1874659">
                <a:moveTo>
                  <a:pt x="593530" y="0"/>
                </a:moveTo>
                <a:cubicBezTo>
                  <a:pt x="943206" y="561308"/>
                  <a:pt x="1018253" y="1251301"/>
                  <a:pt x="797423" y="1874659"/>
                </a:cubicBezTo>
                <a:lnTo>
                  <a:pt x="112453" y="1632004"/>
                </a:lnTo>
                <a:lnTo>
                  <a:pt x="113897" y="1628715"/>
                </a:lnTo>
                <a:cubicBezTo>
                  <a:pt x="267863" y="1223381"/>
                  <a:pt x="228725" y="775771"/>
                  <a:pt x="23880" y="408092"/>
                </a:cubicBezTo>
                <a:lnTo>
                  <a:pt x="0" y="369749"/>
                </a:lnTo>
                <a:close/>
              </a:path>
            </a:pathLst>
          </a:custGeom>
        </p:spPr>
      </p:pic>
      <p:pic>
        <p:nvPicPr>
          <p:cNvPr id="62" name="Picture 61" descr="A car parked in a parking lot&#10;&#10;Description automatically generated with low confidence">
            <a:extLst>
              <a:ext uri="{FF2B5EF4-FFF2-40B4-BE49-F238E27FC236}">
                <a16:creationId xmlns:a16="http://schemas.microsoft.com/office/drawing/2014/main" id="{F7ED4BC2-EC5D-E40D-DEC6-30AB3380477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07" t="1871" r="21821" b="1016"/>
          <a:stretch/>
        </p:blipFill>
        <p:spPr>
          <a:xfrm rot="626420">
            <a:off x="2079891" y="2593584"/>
            <a:ext cx="988046" cy="1861085"/>
          </a:xfrm>
          <a:custGeom>
            <a:avLst/>
            <a:gdLst>
              <a:gd name="connsiteX0" fmla="*/ 595376 w 988046"/>
              <a:gd name="connsiteY0" fmla="*/ 0 h 1861085"/>
              <a:gd name="connsiteX1" fmla="*/ 899148 w 988046"/>
              <a:gd name="connsiteY1" fmla="*/ 1861085 h 1861085"/>
              <a:gd name="connsiteX2" fmla="*/ 177353 w 988046"/>
              <a:gd name="connsiteY2" fmla="*/ 1648046 h 1861085"/>
              <a:gd name="connsiteX3" fmla="*/ 211504 w 988046"/>
              <a:gd name="connsiteY3" fmla="*/ 1517512 h 1861085"/>
              <a:gd name="connsiteX4" fmla="*/ 135531 w 988046"/>
              <a:gd name="connsiteY4" fmla="*/ 673183 h 1861085"/>
              <a:gd name="connsiteX5" fmla="*/ 72749 w 988046"/>
              <a:gd name="connsiteY5" fmla="*/ 538659 h 1861085"/>
              <a:gd name="connsiteX6" fmla="*/ 0 w 988046"/>
              <a:gd name="connsiteY6" fmla="*/ 416647 h 1861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8046" h="1861085">
                <a:moveTo>
                  <a:pt x="595376" y="0"/>
                </a:moveTo>
                <a:cubicBezTo>
                  <a:pt x="974545" y="541822"/>
                  <a:pt x="1086352" y="1226818"/>
                  <a:pt x="899148" y="1861085"/>
                </a:cubicBezTo>
                <a:lnTo>
                  <a:pt x="177353" y="1648046"/>
                </a:lnTo>
                <a:lnTo>
                  <a:pt x="211504" y="1517512"/>
                </a:lnTo>
                <a:cubicBezTo>
                  <a:pt x="269169" y="1244228"/>
                  <a:pt x="248652" y="951387"/>
                  <a:pt x="135531" y="673183"/>
                </a:cubicBezTo>
                <a:cubicBezTo>
                  <a:pt x="116677" y="626816"/>
                  <a:pt x="95697" y="581952"/>
                  <a:pt x="72749" y="538659"/>
                </a:cubicBezTo>
                <a:lnTo>
                  <a:pt x="0" y="416647"/>
                </a:lnTo>
                <a:close/>
              </a:path>
            </a:pathLst>
          </a:custGeom>
        </p:spPr>
      </p:pic>
      <p:pic>
        <p:nvPicPr>
          <p:cNvPr id="58" name="Picture 57" descr="A picture containing fruit, orange, citrus&#10;&#10;Description automatically generated">
            <a:extLst>
              <a:ext uri="{FF2B5EF4-FFF2-40B4-BE49-F238E27FC236}">
                <a16:creationId xmlns:a16="http://schemas.microsoft.com/office/drawing/2014/main" id="{9CEE98C9-37A8-C0E7-BB29-CF35A982F0D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47" t="519" r="14347" b="-1264"/>
          <a:stretch/>
        </p:blipFill>
        <p:spPr>
          <a:xfrm rot="6425747">
            <a:off x="-89460" y="4335848"/>
            <a:ext cx="931683" cy="1883012"/>
          </a:xfrm>
          <a:custGeom>
            <a:avLst/>
            <a:gdLst>
              <a:gd name="connsiteX0" fmla="*/ 663201 w 931683"/>
              <a:gd name="connsiteY0" fmla="*/ 0 h 1883012"/>
              <a:gd name="connsiteX1" fmla="*/ 764145 w 931683"/>
              <a:gd name="connsiteY1" fmla="*/ 1883012 h 1883012"/>
              <a:gd name="connsiteX2" fmla="*/ 85112 w 931683"/>
              <a:gd name="connsiteY2" fmla="*/ 1599722 h 1883012"/>
              <a:gd name="connsiteX3" fmla="*/ 127270 w 931683"/>
              <a:gd name="connsiteY3" fmla="*/ 1476942 h 1883012"/>
              <a:gd name="connsiteX4" fmla="*/ 5811 w 931683"/>
              <a:gd name="connsiteY4" fmla="*/ 373757 h 1883012"/>
              <a:gd name="connsiteX5" fmla="*/ 0 w 931683"/>
              <a:gd name="connsiteY5" fmla="*/ 364339 h 1883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1683" h="1883012">
                <a:moveTo>
                  <a:pt x="663201" y="0"/>
                </a:moveTo>
                <a:cubicBezTo>
                  <a:pt x="981620" y="579612"/>
                  <a:pt x="1018774" y="1272680"/>
                  <a:pt x="764145" y="1883012"/>
                </a:cubicBezTo>
                <a:lnTo>
                  <a:pt x="85112" y="1599722"/>
                </a:lnTo>
                <a:lnTo>
                  <a:pt x="127270" y="1476942"/>
                </a:lnTo>
                <a:cubicBezTo>
                  <a:pt x="230914" y="1120599"/>
                  <a:pt x="198616" y="724715"/>
                  <a:pt x="5811" y="373757"/>
                </a:cubicBezTo>
                <a:lnTo>
                  <a:pt x="0" y="364339"/>
                </a:lnTo>
                <a:close/>
              </a:path>
            </a:pathLst>
          </a:custGeom>
        </p:spPr>
      </p:pic>
      <p:pic>
        <p:nvPicPr>
          <p:cNvPr id="56" name="Picture 55" descr="A picture containing reef, red&#10;&#10;Description automatically generated">
            <a:extLst>
              <a:ext uri="{FF2B5EF4-FFF2-40B4-BE49-F238E27FC236}">
                <a16:creationId xmlns:a16="http://schemas.microsoft.com/office/drawing/2014/main" id="{77055E55-90D6-67CD-706F-2DC45246E26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" r="33298" b="6961"/>
          <a:stretch/>
        </p:blipFill>
        <p:spPr>
          <a:xfrm rot="10098776">
            <a:off x="-1337842" y="3402947"/>
            <a:ext cx="1049351" cy="1838435"/>
          </a:xfrm>
          <a:custGeom>
            <a:avLst/>
            <a:gdLst>
              <a:gd name="connsiteX0" fmla="*/ 575238 w 1049351"/>
              <a:gd name="connsiteY0" fmla="*/ 0 h 1838435"/>
              <a:gd name="connsiteX1" fmla="*/ 994849 w 1049351"/>
              <a:gd name="connsiteY1" fmla="*/ 1838435 h 1838435"/>
              <a:gd name="connsiteX2" fmla="*/ 307617 w 1049351"/>
              <a:gd name="connsiteY2" fmla="*/ 1681579 h 1838435"/>
              <a:gd name="connsiteX3" fmla="*/ 307950 w 1049351"/>
              <a:gd name="connsiteY3" fmla="*/ 1680284 h 1838435"/>
              <a:gd name="connsiteX4" fmla="*/ 337410 w 1049351"/>
              <a:gd name="connsiteY4" fmla="*/ 1388040 h 1838435"/>
              <a:gd name="connsiteX5" fmla="*/ 6280 w 1049351"/>
              <a:gd name="connsiteY5" fmla="*/ 465647 h 1838435"/>
              <a:gd name="connsiteX6" fmla="*/ 0 w 1049351"/>
              <a:gd name="connsiteY6" fmla="*/ 458737 h 1838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9351" h="1838435">
                <a:moveTo>
                  <a:pt x="575238" y="0"/>
                </a:moveTo>
                <a:cubicBezTo>
                  <a:pt x="987563" y="517039"/>
                  <a:pt x="1142005" y="1193699"/>
                  <a:pt x="994849" y="1838435"/>
                </a:cubicBezTo>
                <a:lnTo>
                  <a:pt x="307617" y="1681579"/>
                </a:lnTo>
                <a:lnTo>
                  <a:pt x="307950" y="1680284"/>
                </a:lnTo>
                <a:cubicBezTo>
                  <a:pt x="327266" y="1585887"/>
                  <a:pt x="337410" y="1488148"/>
                  <a:pt x="337410" y="1388040"/>
                </a:cubicBezTo>
                <a:cubicBezTo>
                  <a:pt x="337410" y="1037662"/>
                  <a:pt x="213145" y="716308"/>
                  <a:pt x="6280" y="465647"/>
                </a:cubicBezTo>
                <a:lnTo>
                  <a:pt x="0" y="458737"/>
                </a:lnTo>
                <a:close/>
              </a:path>
            </a:pathLst>
          </a:cu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E6278F8A-90FC-B928-6891-972778FCD697}"/>
              </a:ext>
            </a:extLst>
          </p:cNvPr>
          <p:cNvSpPr txBox="1"/>
          <p:nvPr/>
        </p:nvSpPr>
        <p:spPr>
          <a:xfrm>
            <a:off x="476748" y="3213483"/>
            <a:ext cx="117852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ture" panose="020B0804020202020204" pitchFamily="34" charset="0"/>
                <a:ea typeface="+mn-ea"/>
                <a:cs typeface="+mn-cs"/>
              </a:rPr>
              <a:t>SUB 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E3070F2-25CD-7BA6-7528-9EF90C01F2BA}"/>
              </a:ext>
            </a:extLst>
          </p:cNvPr>
          <p:cNvSpPr txBox="1"/>
          <p:nvPr/>
        </p:nvSpPr>
        <p:spPr>
          <a:xfrm>
            <a:off x="3017887" y="1964891"/>
            <a:ext cx="8810232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>
                <a:solidFill>
                  <a:prstClr val="black"/>
                </a:solidFill>
                <a:latin typeface="Couture" panose="020B0804020202020204" pitchFamily="34" charset="0"/>
              </a:rPr>
              <a:t>PENGGUNAAN TEKNIK – TEKNIK SISTEM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>
                <a:solidFill>
                  <a:prstClr val="black"/>
                </a:solidFill>
                <a:latin typeface="Couture" panose="020B0804020202020204" pitchFamily="34" charset="0"/>
              </a:rPr>
              <a:t>UNTUK PENGEMBANGAN SISTEM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ture" panose="020B0804020202020204" pitchFamily="34" charset="0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E3507C-AE8C-7EA1-60BF-CC913149721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76422" y="6907095"/>
            <a:ext cx="5212480" cy="3785397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68D00114-4BB7-E42E-7627-C9C1BD0B5F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03986" y="8823605"/>
            <a:ext cx="5212480" cy="378539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3BD7C12-6E9F-0269-0188-A3E84AD32FA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-660468" y="9696513"/>
            <a:ext cx="5212480" cy="3785397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EE824323-53E4-9D1D-C039-948D48EAB1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53700" y="12339099"/>
            <a:ext cx="3724275" cy="154305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738A8307-1A9F-D15F-9CD4-4364B15F733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287350" y="13679490"/>
            <a:ext cx="1190625" cy="246697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1EF204B-5C63-8F25-97F7-1EBEDF3EFD07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02" t="14338" r="24694" b="3682"/>
          <a:stretch/>
        </p:blipFill>
        <p:spPr>
          <a:xfrm rot="3541384">
            <a:off x="1429958" y="3955121"/>
            <a:ext cx="928404" cy="1943364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940574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ZcveFcTuSouPSNhUDFiQ"/>
</p:tagLst>
</file>

<file path=ppt/theme/theme1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09A9FD79-4AD2-4296-A2DD-9F92A25C9D11}" vid="{BFDEAB75-776D-4FD4-B1CD-15298D2A28B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4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YouTube Template</Template>
  <TotalTime>5995</TotalTime>
  <Words>557</Words>
  <Application>Microsoft Office PowerPoint</Application>
  <PresentationFormat>Widescreen</PresentationFormat>
  <Paragraphs>88</Paragraphs>
  <Slides>15</Slides>
  <Notes>9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Arial</vt:lpstr>
      <vt:lpstr>Bebas Neue</vt:lpstr>
      <vt:lpstr>Calibri</vt:lpstr>
      <vt:lpstr>Calibri Light</vt:lpstr>
      <vt:lpstr>Couture</vt:lpstr>
      <vt:lpstr>Montserrat</vt:lpstr>
      <vt:lpstr>Segoe UI Black</vt:lpstr>
      <vt:lpstr>Segoe UI Semibold</vt:lpstr>
      <vt:lpstr>Wingdings</vt:lpstr>
      <vt:lpstr>Level up! PowerPoint</vt:lpstr>
      <vt:lpstr>Office Theme</vt:lpstr>
      <vt:lpstr>think-cell Slide</vt:lpstr>
      <vt:lpstr>PowerPoint Presentation</vt:lpstr>
      <vt:lpstr>TEKNIK DAN DOKUMENTASI SISTE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keywords/>
  <cp:lastModifiedBy>qaulan sakila</cp:lastModifiedBy>
  <cp:revision>84</cp:revision>
  <dcterms:created xsi:type="dcterms:W3CDTF">2018-05-09T07:34:30Z</dcterms:created>
  <dcterms:modified xsi:type="dcterms:W3CDTF">2024-03-03T10:1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